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1" r:id="rId1"/>
  </p:sldMasterIdLst>
  <p:notesMasterIdLst>
    <p:notesMasterId r:id="rId7"/>
  </p:notesMasterIdLst>
  <p:sldIdLst>
    <p:sldId id="256" r:id="rId2"/>
    <p:sldId id="259" r:id="rId3"/>
    <p:sldId id="454" r:id="rId4"/>
    <p:sldId id="455" r:id="rId5"/>
    <p:sldId id="279" r:id="rId6"/>
  </p:sldIdLst>
  <p:sldSz cx="12192000" cy="6858000"/>
  <p:notesSz cx="12192000" cy="6858000"/>
  <p:embeddedFontLst>
    <p:embeddedFont>
      <p:font typeface="Calibri" panose="020F0502020204030204" pitchFamily="34" charset="0"/>
      <p:regular r:id="rId8"/>
      <p:bold r:id="rId9"/>
      <p:italic r:id="rId10"/>
      <p:boldItalic r:id="rId11"/>
    </p:embeddedFont>
    <p:embeddedFont>
      <p:font typeface="Open Sans" panose="020B0606030504020204" pitchFamily="34" charset="0"/>
      <p:regular r:id="rId12"/>
      <p:bold r:id="rId13"/>
      <p:italic r:id="rId14"/>
      <p:boldItalic r:id="rId15"/>
    </p:embeddedFont>
    <p:embeddedFont>
      <p:font typeface="Roboto Condensed" pitchFamily="2" charset="0"/>
      <p:regular r:id="rId16"/>
      <p:bold r:id="rId17"/>
      <p:italic r:id="rId18"/>
      <p:boldItalic r:id="rId19"/>
    </p:embeddedFont>
    <p:embeddedFont>
      <p:font typeface="Verdana" panose="020B0604030504040204" pitchFamily="34" charset="0"/>
      <p:regular r:id="rId20"/>
      <p:bold r:id="rId21"/>
      <p:italic r:id="rId22"/>
      <p:boldItalic r:id="rId2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448">
          <p15:clr>
            <a:srgbClr val="000000"/>
          </p15:clr>
        </p15:guide>
        <p15:guide id="2" pos="2112">
          <p15:clr>
            <a:srgbClr val="00000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72D2FFD-346D-4E55-B060-4D0E73AA9CCF}">
  <a:tblStyle styleId="{672D2FFD-346D-4E55-B060-4D0E73AA9CCF}"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D8C92B1-A8ED-4234-BCA0-5FC84BF68AEB}"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834" y="60"/>
      </p:cViewPr>
      <p:guideLst>
        <p:guide orient="horz" pos="2448"/>
        <p:guide pos="21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14.fntdata"/><Relationship Id="rId7" Type="http://schemas.openxmlformats.org/officeDocument/2006/relationships/notesMaster" Target="notesMasters/notes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9.fntdata"/><Relationship Id="rId20"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4.fntdata"/><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8.fntdata"/><Relationship Id="rId23" Type="http://schemas.openxmlformats.org/officeDocument/2006/relationships/font" Target="fonts/font16.fntdata"/><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font" Target="fonts/font15.fntdata"/><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5283200" cy="3444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6905625" y="0"/>
            <a:ext cx="5283200" cy="3444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219200" y="3300413"/>
            <a:ext cx="9753600" cy="27003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13513"/>
            <a:ext cx="5283200" cy="3444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6905625" y="6513513"/>
            <a:ext cx="5283200" cy="3444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1:notes"/>
          <p:cNvSpPr txBox="1">
            <a:spLocks noGrp="1"/>
          </p:cNvSpPr>
          <p:nvPr>
            <p:ph type="body" idx="1"/>
          </p:nvPr>
        </p:nvSpPr>
        <p:spPr>
          <a:xfrm>
            <a:off x="1219200" y="3300413"/>
            <a:ext cx="9753600" cy="270033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6" name="Google Shape;186;p1: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g111ea9a4fe7_3_9:notes"/>
          <p:cNvSpPr>
            <a:spLocks noGrp="1" noRot="1" noChangeAspect="1"/>
          </p:cNvSpPr>
          <p:nvPr>
            <p:ph type="sldImg" idx="2"/>
          </p:nvPr>
        </p:nvSpPr>
        <p:spPr>
          <a:xfrm>
            <a:off x="4038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0" name="Google Shape;400;g111ea9a4fe7_3_9:notes"/>
          <p:cNvSpPr txBox="1">
            <a:spLocks noGrp="1"/>
          </p:cNvSpPr>
          <p:nvPr>
            <p:ph type="body" idx="1"/>
          </p:nvPr>
        </p:nvSpPr>
        <p:spPr>
          <a:xfrm>
            <a:off x="1219200" y="3300413"/>
            <a:ext cx="9753600" cy="27003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1" name="Google Shape;401;g111ea9a4fe7_3_9:notes"/>
          <p:cNvSpPr txBox="1">
            <a:spLocks noGrp="1"/>
          </p:cNvSpPr>
          <p:nvPr>
            <p:ph type="sldNum" idx="12"/>
          </p:nvPr>
        </p:nvSpPr>
        <p:spPr>
          <a:xfrm>
            <a:off x="6905625" y="6513513"/>
            <a:ext cx="5283300" cy="3444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GB"/>
              <a:t>5</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9"/>
        <p:cNvGrpSpPr/>
        <p:nvPr/>
      </p:nvGrpSpPr>
      <p:grpSpPr>
        <a:xfrm>
          <a:off x="0" y="0"/>
          <a:ext cx="0" cy="0"/>
          <a:chOff x="0" y="0"/>
          <a:chExt cx="0" cy="0"/>
        </a:xfrm>
      </p:grpSpPr>
      <p:sp>
        <p:nvSpPr>
          <p:cNvPr id="20" name="Google Shape;20;p2"/>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2"/>
          <p:cNvSpPr>
            <a:spLocks noGrp="1"/>
          </p:cNvSpPr>
          <p:nvPr>
            <p:ph type="pic" idx="2"/>
          </p:nvPr>
        </p:nvSpPr>
        <p:spPr>
          <a:xfrm>
            <a:off x="685800" y="1704201"/>
            <a:ext cx="5029200" cy="3657600"/>
          </a:xfrm>
          <a:prstGeom prst="rect">
            <a:avLst/>
          </a:prstGeom>
          <a:noFill/>
          <a:ln>
            <a:noFill/>
          </a:ln>
        </p:spPr>
      </p:sp>
      <p:sp>
        <p:nvSpPr>
          <p:cNvPr id="22" name="Google Shape;22;p2"/>
          <p:cNvSpPr>
            <a:spLocks noGrp="1"/>
          </p:cNvSpPr>
          <p:nvPr>
            <p:ph type="pic" idx="3"/>
          </p:nvPr>
        </p:nvSpPr>
        <p:spPr>
          <a:xfrm>
            <a:off x="6705600" y="1704200"/>
            <a:ext cx="4876800" cy="3657599"/>
          </a:xfrm>
          <a:prstGeom prst="rect">
            <a:avLst/>
          </a:prstGeom>
          <a:noFill/>
          <a:ln>
            <a:noFill/>
          </a:ln>
        </p:spPr>
      </p:sp>
      <p:sp>
        <p:nvSpPr>
          <p:cNvPr id="23" name="Google Shape;23;p2"/>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dirty="0"/>
          </a:p>
        </p:txBody>
      </p:sp>
      <p:sp>
        <p:nvSpPr>
          <p:cNvPr id="24" name="Google Shape;24;p2"/>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roblem Layout">
  <p:cSld name="Problem Layout">
    <p:spTree>
      <p:nvGrpSpPr>
        <p:cNvPr id="1" name="Shape 140"/>
        <p:cNvGrpSpPr/>
        <p:nvPr/>
      </p:nvGrpSpPr>
      <p:grpSpPr>
        <a:xfrm>
          <a:off x="0" y="0"/>
          <a:ext cx="0" cy="0"/>
          <a:chOff x="0" y="0"/>
          <a:chExt cx="0" cy="0"/>
        </a:xfrm>
      </p:grpSpPr>
      <p:sp>
        <p:nvSpPr>
          <p:cNvPr id="141" name="Google Shape;141;p11"/>
          <p:cNvSpPr/>
          <p:nvPr/>
        </p:nvSpPr>
        <p:spPr>
          <a:xfrm>
            <a:off x="6266646" y="1233488"/>
            <a:ext cx="5308037" cy="4633893"/>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42" name="Google Shape;142;p11"/>
          <p:cNvSpPr txBox="1">
            <a:spLocks noGrp="1"/>
          </p:cNvSpPr>
          <p:nvPr>
            <p:ph type="body" idx="1"/>
          </p:nvPr>
        </p:nvSpPr>
        <p:spPr>
          <a:xfrm>
            <a:off x="6521184" y="1596386"/>
            <a:ext cx="277828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43" name="Google Shape;143;p11"/>
          <p:cNvSpPr/>
          <p:nvPr/>
        </p:nvSpPr>
        <p:spPr>
          <a:xfrm>
            <a:off x="641350" y="1233489"/>
            <a:ext cx="5308037" cy="4633911"/>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44" name="Google Shape;144;p11"/>
          <p:cNvSpPr txBox="1">
            <a:spLocks noGrp="1"/>
          </p:cNvSpPr>
          <p:nvPr>
            <p:ph type="body" idx="2"/>
          </p:nvPr>
        </p:nvSpPr>
        <p:spPr>
          <a:xfrm>
            <a:off x="879321" y="1581720"/>
            <a:ext cx="277828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45" name="Google Shape;145;p1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46" name="Google Shape;146;p11"/>
          <p:cNvCxnSpPr/>
          <p:nvPr/>
        </p:nvCxnSpPr>
        <p:spPr>
          <a:xfrm>
            <a:off x="641350" y="2766349"/>
            <a:ext cx="5310000" cy="0"/>
          </a:xfrm>
          <a:prstGeom prst="straightConnector1">
            <a:avLst/>
          </a:prstGeom>
          <a:noFill/>
          <a:ln w="50800" cap="flat" cmpd="sng">
            <a:solidFill>
              <a:srgbClr val="F05F87"/>
            </a:solidFill>
            <a:prstDash val="solid"/>
            <a:round/>
            <a:headEnd type="none" w="sm" len="sm"/>
            <a:tailEnd type="none" w="sm" len="sm"/>
          </a:ln>
        </p:spPr>
      </p:cxnSp>
      <p:cxnSp>
        <p:nvCxnSpPr>
          <p:cNvPr id="147" name="Google Shape;147;p11"/>
          <p:cNvCxnSpPr/>
          <p:nvPr/>
        </p:nvCxnSpPr>
        <p:spPr>
          <a:xfrm>
            <a:off x="6264683" y="2766349"/>
            <a:ext cx="5310000" cy="0"/>
          </a:xfrm>
          <a:prstGeom prst="straightConnector1">
            <a:avLst/>
          </a:prstGeom>
          <a:noFill/>
          <a:ln w="50800" cap="flat" cmpd="sng">
            <a:solidFill>
              <a:srgbClr val="49547C"/>
            </a:solidFill>
            <a:prstDash val="solid"/>
            <a:round/>
            <a:headEnd type="none" w="sm" len="sm"/>
            <a:tailEnd type="none" w="sm" len="sm"/>
          </a:ln>
        </p:spPr>
      </p:cxnSp>
      <p:sp>
        <p:nvSpPr>
          <p:cNvPr id="148" name="Google Shape;148;p11"/>
          <p:cNvSpPr>
            <a:spLocks noGrp="1"/>
          </p:cNvSpPr>
          <p:nvPr>
            <p:ph type="pic" idx="3"/>
          </p:nvPr>
        </p:nvSpPr>
        <p:spPr>
          <a:xfrm>
            <a:off x="6266645" y="2767525"/>
            <a:ext cx="5308038" cy="3101048"/>
          </a:xfrm>
          <a:prstGeom prst="rect">
            <a:avLst/>
          </a:prstGeom>
          <a:noFill/>
          <a:ln>
            <a:noFill/>
          </a:ln>
        </p:spPr>
      </p:sp>
      <p:sp>
        <p:nvSpPr>
          <p:cNvPr id="149" name="Google Shape;149;p11"/>
          <p:cNvSpPr>
            <a:spLocks noGrp="1"/>
          </p:cNvSpPr>
          <p:nvPr>
            <p:ph type="pic" idx="4"/>
          </p:nvPr>
        </p:nvSpPr>
        <p:spPr>
          <a:xfrm>
            <a:off x="648553" y="2766349"/>
            <a:ext cx="5300833" cy="3101048"/>
          </a:xfrm>
          <a:prstGeom prst="rect">
            <a:avLst/>
          </a:prstGeom>
          <a:noFill/>
          <a:ln>
            <a:noFill/>
          </a:ln>
        </p:spPr>
      </p:sp>
      <p:sp>
        <p:nvSpPr>
          <p:cNvPr id="150" name="Google Shape;150;p11"/>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1" name="Google Shape;151;p11"/>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ig statement header">
  <p:cSld name="Big statement header">
    <p:spTree>
      <p:nvGrpSpPr>
        <p:cNvPr id="1" name="Shape 152"/>
        <p:cNvGrpSpPr/>
        <p:nvPr/>
      </p:nvGrpSpPr>
      <p:grpSpPr>
        <a:xfrm>
          <a:off x="0" y="0"/>
          <a:ext cx="0" cy="0"/>
          <a:chOff x="0" y="0"/>
          <a:chExt cx="0" cy="0"/>
        </a:xfrm>
      </p:grpSpPr>
      <p:grpSp>
        <p:nvGrpSpPr>
          <p:cNvPr id="153" name="Google Shape;153;p12"/>
          <p:cNvGrpSpPr/>
          <p:nvPr/>
        </p:nvGrpSpPr>
        <p:grpSpPr>
          <a:xfrm>
            <a:off x="0" y="1215709"/>
            <a:ext cx="12192000" cy="951749"/>
            <a:chOff x="0" y="5667469"/>
            <a:chExt cx="12192000" cy="820415"/>
          </a:xfrm>
        </p:grpSpPr>
        <p:sp>
          <p:nvSpPr>
            <p:cNvPr id="154" name="Google Shape;154;p12"/>
            <p:cNvSpPr/>
            <p:nvPr/>
          </p:nvSpPr>
          <p:spPr>
            <a:xfrm>
              <a:off x="0" y="5667469"/>
              <a:ext cx="12192000" cy="820415"/>
            </a:xfrm>
            <a:prstGeom prst="rect">
              <a:avLst/>
            </a:prstGeom>
            <a:solidFill>
              <a:schemeClr val="accent1">
                <a:alpha val="35294"/>
              </a:schemeClr>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rgbClr val="30454F"/>
                </a:solidFill>
                <a:latin typeface="Roboto Condensed"/>
                <a:ea typeface="Roboto Condensed"/>
                <a:cs typeface="Roboto Condensed"/>
                <a:sym typeface="Roboto Condensed"/>
              </a:endParaRPr>
            </a:p>
          </p:txBody>
        </p:sp>
        <p:sp>
          <p:nvSpPr>
            <p:cNvPr id="155" name="Google Shape;155;p12"/>
            <p:cNvSpPr/>
            <p:nvPr/>
          </p:nvSpPr>
          <p:spPr>
            <a:xfrm>
              <a:off x="0" y="5723297"/>
              <a:ext cx="12192000" cy="708759"/>
            </a:xfrm>
            <a:prstGeom prst="rect">
              <a:avLst/>
            </a:prstGeom>
            <a:solidFill>
              <a:srgbClr val="4A557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rgbClr val="30454F"/>
                </a:solidFill>
                <a:latin typeface="Roboto Condensed"/>
                <a:ea typeface="Roboto Condensed"/>
                <a:cs typeface="Roboto Condensed"/>
                <a:sym typeface="Roboto Condensed"/>
              </a:endParaRPr>
            </a:p>
          </p:txBody>
        </p:sp>
        <p:sp>
          <p:nvSpPr>
            <p:cNvPr id="156" name="Google Shape;156;p12"/>
            <p:cNvSpPr/>
            <p:nvPr/>
          </p:nvSpPr>
          <p:spPr>
            <a:xfrm>
              <a:off x="1785421" y="5878696"/>
              <a:ext cx="8621160" cy="397959"/>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Arial"/>
                <a:ea typeface="Arial"/>
                <a:cs typeface="Arial"/>
                <a:sym typeface="Arial"/>
              </a:endParaRPr>
            </a:p>
          </p:txBody>
        </p:sp>
      </p:grpSp>
      <p:sp>
        <p:nvSpPr>
          <p:cNvPr id="157" name="Google Shape;157;p12"/>
          <p:cNvSpPr txBox="1">
            <a:spLocks noGrp="1"/>
          </p:cNvSpPr>
          <p:nvPr>
            <p:ph type="body" idx="1"/>
          </p:nvPr>
        </p:nvSpPr>
        <p:spPr>
          <a:xfrm>
            <a:off x="3962400" y="1523395"/>
            <a:ext cx="3962400" cy="307777"/>
          </a:xfrm>
          <a:prstGeom prst="rect">
            <a:avLst/>
          </a:prstGeom>
          <a:noFill/>
          <a:ln>
            <a:noFill/>
          </a:ln>
        </p:spPr>
        <p:txBody>
          <a:bodyPr spcFirstLastPara="1" wrap="square" lIns="0" tIns="0" rIns="0" bIns="0" anchor="t" anchorCtr="0">
            <a:spAutoFit/>
          </a:bodyPr>
          <a:lstStyle>
            <a:lvl1pPr marL="457200" lvl="0" indent="-228600" algn="ctr">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8" name="Google Shape;158;p12"/>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12"/>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pic>
        <p:nvPicPr>
          <p:cNvPr id="160" name="Google Shape;160;p12"/>
          <p:cNvPicPr preferRelativeResize="0"/>
          <p:nvPr/>
        </p:nvPicPr>
        <p:blipFill rotWithShape="1">
          <a:blip r:embed="rId2">
            <a:alphaModFix/>
          </a:blip>
          <a:srcRect l="36235" t="56193" r="28551" b="28755"/>
          <a:stretch/>
        </p:blipFill>
        <p:spPr>
          <a:xfrm rot="10800000" flipH="1">
            <a:off x="0" y="1280474"/>
            <a:ext cx="2759700" cy="1224507"/>
          </a:xfrm>
          <a:prstGeom prst="rect">
            <a:avLst/>
          </a:prstGeom>
          <a:noFill/>
          <a:ln>
            <a:noFill/>
          </a:ln>
        </p:spPr>
      </p:pic>
      <p:sp>
        <p:nvSpPr>
          <p:cNvPr id="161" name="Google Shape;161;p12"/>
          <p:cNvSpPr>
            <a:spLocks noGrp="1"/>
          </p:cNvSpPr>
          <p:nvPr>
            <p:ph type="pic" idx="2"/>
          </p:nvPr>
        </p:nvSpPr>
        <p:spPr>
          <a:xfrm>
            <a:off x="5562600" y="2347735"/>
            <a:ext cx="6002882" cy="3519665"/>
          </a:xfrm>
          <a:prstGeom prst="rect">
            <a:avLst/>
          </a:prstGeom>
          <a:noFill/>
          <a:ln>
            <a:noFill/>
          </a:ln>
        </p:spPr>
      </p:sp>
      <p:sp>
        <p:nvSpPr>
          <p:cNvPr id="162" name="Google Shape;162;p12"/>
          <p:cNvSpPr txBox="1">
            <a:spLocks noGrp="1"/>
          </p:cNvSpPr>
          <p:nvPr>
            <p:ph type="body" idx="3"/>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3" name="Google Shape;163;p12"/>
          <p:cNvSpPr txBox="1">
            <a:spLocks noGrp="1"/>
          </p:cNvSpPr>
          <p:nvPr>
            <p:ph type="body" idx="4"/>
          </p:nvPr>
        </p:nvSpPr>
        <p:spPr>
          <a:xfrm>
            <a:off x="609600" y="2362200"/>
            <a:ext cx="4663440" cy="35052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4" name="Google Shape;164;p12"/>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ards with Charts">
  <p:cSld name="Cards with Charts">
    <p:spTree>
      <p:nvGrpSpPr>
        <p:cNvPr id="1" name="Shape 165"/>
        <p:cNvGrpSpPr/>
        <p:nvPr/>
      </p:nvGrpSpPr>
      <p:grpSpPr>
        <a:xfrm>
          <a:off x="0" y="0"/>
          <a:ext cx="0" cy="0"/>
          <a:chOff x="0" y="0"/>
          <a:chExt cx="0" cy="0"/>
        </a:xfrm>
      </p:grpSpPr>
      <p:sp>
        <p:nvSpPr>
          <p:cNvPr id="166" name="Google Shape;166;p13"/>
          <p:cNvSpPr/>
          <p:nvPr/>
        </p:nvSpPr>
        <p:spPr>
          <a:xfrm>
            <a:off x="6118942" y="1291855"/>
            <a:ext cx="5308037" cy="4499345"/>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67" name="Google Shape;167;p13"/>
          <p:cNvSpPr/>
          <p:nvPr/>
        </p:nvSpPr>
        <p:spPr>
          <a:xfrm>
            <a:off x="6121963" y="1274846"/>
            <a:ext cx="5308037" cy="1038792"/>
          </a:xfrm>
          <a:prstGeom prst="rect">
            <a:avLst/>
          </a:prstGeom>
          <a:solidFill>
            <a:srgbClr val="F5BE2E"/>
          </a:solid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Open Sans"/>
              <a:ea typeface="Open Sans"/>
              <a:cs typeface="Open Sans"/>
              <a:sym typeface="Open Sans"/>
            </a:endParaRPr>
          </a:p>
        </p:txBody>
      </p:sp>
      <p:sp>
        <p:nvSpPr>
          <p:cNvPr id="168" name="Google Shape;168;p13"/>
          <p:cNvSpPr txBox="1">
            <a:spLocks noGrp="1"/>
          </p:cNvSpPr>
          <p:nvPr>
            <p:ph type="body" idx="1"/>
          </p:nvPr>
        </p:nvSpPr>
        <p:spPr>
          <a:xfrm>
            <a:off x="6400800" y="1671131"/>
            <a:ext cx="466344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dk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9" name="Google Shape;169;p13"/>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 name="Google Shape;170;p13"/>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71" name="Google Shape;171;p13"/>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sp>
        <p:nvSpPr>
          <p:cNvPr id="172" name="Google Shape;172;p13"/>
          <p:cNvSpPr/>
          <p:nvPr/>
        </p:nvSpPr>
        <p:spPr>
          <a:xfrm>
            <a:off x="641350" y="1233488"/>
            <a:ext cx="5308037" cy="4499345"/>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pic>
        <p:nvPicPr>
          <p:cNvPr id="173" name="Google Shape;173;p13"/>
          <p:cNvPicPr preferRelativeResize="0"/>
          <p:nvPr/>
        </p:nvPicPr>
        <p:blipFill rotWithShape="1">
          <a:blip r:embed="rId2">
            <a:alphaModFix/>
          </a:blip>
          <a:srcRect l="36235" t="56193" r="28551" b="28755"/>
          <a:stretch/>
        </p:blipFill>
        <p:spPr>
          <a:xfrm rot="-704631" flipH="1">
            <a:off x="8265196" y="821882"/>
            <a:ext cx="4069204" cy="1805548"/>
          </a:xfrm>
          <a:prstGeom prst="rect">
            <a:avLst/>
          </a:prstGeom>
          <a:noFill/>
          <a:ln>
            <a:noFill/>
          </a:ln>
        </p:spPr>
      </p:pic>
      <p:sp>
        <p:nvSpPr>
          <p:cNvPr id="174" name="Google Shape;174;p13"/>
          <p:cNvSpPr/>
          <p:nvPr/>
        </p:nvSpPr>
        <p:spPr>
          <a:xfrm>
            <a:off x="648554" y="1214229"/>
            <a:ext cx="5308037" cy="1038792"/>
          </a:xfrm>
          <a:prstGeom prst="rect">
            <a:avLst/>
          </a:prstGeom>
          <a:solidFill>
            <a:srgbClr val="4A557D"/>
          </a:solidFill>
          <a:ln w="9525" cap="flat" cmpd="sng">
            <a:solidFill>
              <a:schemeClr val="accent1"/>
            </a:solidFill>
            <a:prstDash val="solid"/>
            <a:round/>
            <a:headEnd type="none" w="sm" len="sm"/>
            <a:tailEnd type="none" w="sm" len="sm"/>
          </a:ln>
        </p:spPr>
        <p:txBody>
          <a:bodyPr spcFirstLastPara="1" wrap="square" lIns="25200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Open Sans"/>
              <a:ea typeface="Open Sans"/>
              <a:cs typeface="Open Sans"/>
              <a:sym typeface="Open Sans"/>
            </a:endParaRPr>
          </a:p>
        </p:txBody>
      </p:sp>
      <p:pic>
        <p:nvPicPr>
          <p:cNvPr id="175" name="Google Shape;175;p13"/>
          <p:cNvPicPr preferRelativeResize="0"/>
          <p:nvPr/>
        </p:nvPicPr>
        <p:blipFill rotWithShape="1">
          <a:blip r:embed="rId2">
            <a:alphaModFix/>
          </a:blip>
          <a:srcRect l="36235" t="56193" r="28551" b="28755"/>
          <a:stretch/>
        </p:blipFill>
        <p:spPr>
          <a:xfrm rot="-704631" flipH="1">
            <a:off x="2615193" y="1004599"/>
            <a:ext cx="3412662" cy="1514234"/>
          </a:xfrm>
          <a:prstGeom prst="rect">
            <a:avLst/>
          </a:prstGeom>
          <a:noFill/>
          <a:ln>
            <a:noFill/>
          </a:ln>
        </p:spPr>
      </p:pic>
      <p:sp>
        <p:nvSpPr>
          <p:cNvPr id="176" name="Google Shape;176;p13"/>
          <p:cNvSpPr txBox="1">
            <a:spLocks noGrp="1"/>
          </p:cNvSpPr>
          <p:nvPr>
            <p:ph type="body" idx="2"/>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7" name="Google Shape;177;p13"/>
          <p:cNvSpPr txBox="1">
            <a:spLocks noGrp="1"/>
          </p:cNvSpPr>
          <p:nvPr>
            <p:ph type="body" idx="3"/>
          </p:nvPr>
        </p:nvSpPr>
        <p:spPr>
          <a:xfrm>
            <a:off x="914400" y="1600200"/>
            <a:ext cx="4663440"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8" name="Google Shape;178;p13"/>
          <p:cNvSpPr>
            <a:spLocks noGrp="1"/>
          </p:cNvSpPr>
          <p:nvPr>
            <p:ph type="chart" idx="4"/>
          </p:nvPr>
        </p:nvSpPr>
        <p:spPr>
          <a:xfrm>
            <a:off x="1447800" y="2590800"/>
            <a:ext cx="3810000" cy="274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79" name="Google Shape;179;p13"/>
          <p:cNvSpPr>
            <a:spLocks noGrp="1"/>
          </p:cNvSpPr>
          <p:nvPr>
            <p:ph type="chart" idx="5"/>
          </p:nvPr>
        </p:nvSpPr>
        <p:spPr>
          <a:xfrm>
            <a:off x="6867960" y="2590800"/>
            <a:ext cx="3810000" cy="2743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80" name="Google Shape;180;p13"/>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a:xfrm>
            <a:off x="324415" y="1145391"/>
            <a:ext cx="11543169" cy="109414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6-Apr-22</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58256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5"/>
        <p:cNvGrpSpPr/>
        <p:nvPr/>
      </p:nvGrpSpPr>
      <p:grpSpPr>
        <a:xfrm>
          <a:off x="0" y="0"/>
          <a:ext cx="0" cy="0"/>
          <a:chOff x="0" y="0"/>
          <a:chExt cx="0" cy="0"/>
        </a:xfrm>
      </p:grpSpPr>
      <p:sp>
        <p:nvSpPr>
          <p:cNvPr id="26" name="Google Shape;26;p3"/>
          <p:cNvSpPr txBox="1">
            <a:spLocks noGrp="1"/>
          </p:cNvSpPr>
          <p:nvPr>
            <p:ph type="body" idx="1"/>
          </p:nvPr>
        </p:nvSpPr>
        <p:spPr>
          <a:xfrm>
            <a:off x="609600" y="1449704"/>
            <a:ext cx="10926763"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b="0" i="0">
                <a:solidFill>
                  <a:schemeClr val="dk1"/>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7" name="Google Shape;27;p3"/>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3"/>
          <p:cNvSpPr txBox="1">
            <a:spLocks noGrp="1"/>
          </p:cNvSpPr>
          <p:nvPr>
            <p:ph type="body" idx="2"/>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9" name="Google Shape;29;p3"/>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our images layout">
  <p:cSld name="four images layout">
    <p:spTree>
      <p:nvGrpSpPr>
        <p:cNvPr id="1" name="Shape 30"/>
        <p:cNvGrpSpPr/>
        <p:nvPr/>
      </p:nvGrpSpPr>
      <p:grpSpPr>
        <a:xfrm>
          <a:off x="0" y="0"/>
          <a:ext cx="0" cy="0"/>
          <a:chOff x="0" y="0"/>
          <a:chExt cx="0" cy="0"/>
        </a:xfrm>
      </p:grpSpPr>
      <p:sp>
        <p:nvSpPr>
          <p:cNvPr id="31" name="Google Shape;31;p4"/>
          <p:cNvSpPr txBox="1">
            <a:spLocks noGrp="1"/>
          </p:cNvSpPr>
          <p:nvPr>
            <p:ph type="title"/>
          </p:nvPr>
        </p:nvSpPr>
        <p:spPr>
          <a:xfrm>
            <a:off x="605692" y="457200"/>
            <a:ext cx="10515600" cy="13255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rgbClr val="3F3F3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2" name="Google Shape;32;p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
          <p:cNvSpPr>
            <a:spLocks noGrp="1"/>
          </p:cNvSpPr>
          <p:nvPr>
            <p:ph type="pic" idx="2"/>
          </p:nvPr>
        </p:nvSpPr>
        <p:spPr>
          <a:xfrm>
            <a:off x="1447800" y="1905000"/>
            <a:ext cx="1728788" cy="138499"/>
          </a:xfrm>
          <a:prstGeom prst="rect">
            <a:avLst/>
          </a:prstGeom>
          <a:noFill/>
          <a:ln>
            <a:noFill/>
          </a:ln>
        </p:spPr>
      </p:sp>
      <p:sp>
        <p:nvSpPr>
          <p:cNvPr id="34" name="Google Shape;34;p4"/>
          <p:cNvSpPr>
            <a:spLocks noGrp="1"/>
          </p:cNvSpPr>
          <p:nvPr>
            <p:ph type="pic" idx="3"/>
          </p:nvPr>
        </p:nvSpPr>
        <p:spPr>
          <a:xfrm>
            <a:off x="3733800" y="1905001"/>
            <a:ext cx="1676400" cy="138499"/>
          </a:xfrm>
          <a:prstGeom prst="rect">
            <a:avLst/>
          </a:prstGeom>
          <a:noFill/>
          <a:ln>
            <a:noFill/>
          </a:ln>
        </p:spPr>
      </p:sp>
      <p:sp>
        <p:nvSpPr>
          <p:cNvPr id="35" name="Google Shape;35;p4"/>
          <p:cNvSpPr>
            <a:spLocks noGrp="1"/>
          </p:cNvSpPr>
          <p:nvPr>
            <p:ph type="pic" idx="4"/>
          </p:nvPr>
        </p:nvSpPr>
        <p:spPr>
          <a:xfrm>
            <a:off x="5967412" y="1905000"/>
            <a:ext cx="1728788" cy="138499"/>
          </a:xfrm>
          <a:prstGeom prst="rect">
            <a:avLst/>
          </a:prstGeom>
          <a:noFill/>
          <a:ln>
            <a:noFill/>
          </a:ln>
        </p:spPr>
      </p:sp>
      <p:sp>
        <p:nvSpPr>
          <p:cNvPr id="36" name="Google Shape;36;p4"/>
          <p:cNvSpPr>
            <a:spLocks noGrp="1"/>
          </p:cNvSpPr>
          <p:nvPr>
            <p:ph type="pic" idx="5"/>
          </p:nvPr>
        </p:nvSpPr>
        <p:spPr>
          <a:xfrm>
            <a:off x="8253412" y="1905001"/>
            <a:ext cx="1676400" cy="138499"/>
          </a:xfrm>
          <a:prstGeom prst="rect">
            <a:avLst/>
          </a:prstGeom>
          <a:noFill/>
          <a:ln>
            <a:noFill/>
          </a:ln>
        </p:spPr>
      </p:sp>
      <p:sp>
        <p:nvSpPr>
          <p:cNvPr id="37" name="Google Shape;37;p4"/>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ur work">
  <p:cSld name="Our work">
    <p:spTree>
      <p:nvGrpSpPr>
        <p:cNvPr id="1" name="Shape 38"/>
        <p:cNvGrpSpPr/>
        <p:nvPr/>
      </p:nvGrpSpPr>
      <p:grpSpPr>
        <a:xfrm>
          <a:off x="0" y="0"/>
          <a:ext cx="0" cy="0"/>
          <a:chOff x="0" y="0"/>
          <a:chExt cx="0" cy="0"/>
        </a:xfrm>
      </p:grpSpPr>
      <p:sp>
        <p:nvSpPr>
          <p:cNvPr id="39" name="Google Shape;39;p5"/>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5"/>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1" name="Google Shape;41;p5"/>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Highlight section">
  <p:cSld name="Highlight section">
    <p:spTree>
      <p:nvGrpSpPr>
        <p:cNvPr id="1" name="Shape 42"/>
        <p:cNvGrpSpPr/>
        <p:nvPr/>
      </p:nvGrpSpPr>
      <p:grpSpPr>
        <a:xfrm>
          <a:off x="0" y="0"/>
          <a:ext cx="0" cy="0"/>
          <a:chOff x="0" y="0"/>
          <a:chExt cx="0" cy="0"/>
        </a:xfrm>
      </p:grpSpPr>
      <p:sp>
        <p:nvSpPr>
          <p:cNvPr id="43" name="Google Shape;43;p6"/>
          <p:cNvSpPr>
            <a:spLocks noGrp="1"/>
          </p:cNvSpPr>
          <p:nvPr>
            <p:ph type="pic" idx="2"/>
          </p:nvPr>
        </p:nvSpPr>
        <p:spPr>
          <a:xfrm>
            <a:off x="611616" y="1333500"/>
            <a:ext cx="533400" cy="342900"/>
          </a:xfrm>
          <a:prstGeom prst="rect">
            <a:avLst/>
          </a:prstGeom>
          <a:noFill/>
          <a:ln>
            <a:noFill/>
          </a:ln>
        </p:spPr>
      </p:sp>
      <p:sp>
        <p:nvSpPr>
          <p:cNvPr id="44" name="Google Shape;44;p6"/>
          <p:cNvSpPr txBox="1">
            <a:spLocks noGrp="1"/>
          </p:cNvSpPr>
          <p:nvPr>
            <p:ph type="body" idx="1"/>
          </p:nvPr>
        </p:nvSpPr>
        <p:spPr>
          <a:xfrm>
            <a:off x="664370" y="4506176"/>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b="1" i="0">
                <a:solidFill>
                  <a:srgbClr val="F05F87"/>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5" name="Google Shape;45;p6"/>
          <p:cNvSpPr txBox="1">
            <a:spLocks noGrp="1"/>
          </p:cNvSpPr>
          <p:nvPr>
            <p:ph type="body" idx="3"/>
          </p:nvPr>
        </p:nvSpPr>
        <p:spPr>
          <a:xfrm>
            <a:off x="664371" y="1775497"/>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b="1" i="0">
                <a:solidFill>
                  <a:srgbClr val="F05F87"/>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6" name="Google Shape;46;p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6"/>
          <p:cNvSpPr txBox="1">
            <a:spLocks noGrp="1"/>
          </p:cNvSpPr>
          <p:nvPr>
            <p:ph type="body" idx="4"/>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48" name="Google Shape;48;p6"/>
          <p:cNvSpPr>
            <a:spLocks noGrp="1"/>
          </p:cNvSpPr>
          <p:nvPr>
            <p:ph type="pic" idx="5"/>
          </p:nvPr>
        </p:nvSpPr>
        <p:spPr>
          <a:xfrm>
            <a:off x="5867400" y="1189699"/>
            <a:ext cx="5667936" cy="4601501"/>
          </a:xfrm>
          <a:prstGeom prst="rect">
            <a:avLst/>
          </a:prstGeom>
          <a:noFill/>
          <a:ln>
            <a:noFill/>
          </a:ln>
        </p:spPr>
      </p:sp>
      <p:sp>
        <p:nvSpPr>
          <p:cNvPr id="49" name="Google Shape;49;p6"/>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50" name="Google Shape;50;p6"/>
          <p:cNvSpPr txBox="1">
            <a:spLocks noGrp="1"/>
          </p:cNvSpPr>
          <p:nvPr>
            <p:ph type="body" idx="6"/>
          </p:nvPr>
        </p:nvSpPr>
        <p:spPr>
          <a:xfrm>
            <a:off x="677030" y="2235017"/>
            <a:ext cx="5050629" cy="1231106"/>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atin typeface="Arial"/>
                <a:ea typeface="Arial"/>
                <a:cs typeface="Arial"/>
                <a:sym typeface="Arial"/>
              </a:defRPr>
            </a:lvl1pPr>
            <a:lvl2pPr marL="914400" lvl="1" indent="-228600" algn="l">
              <a:lnSpc>
                <a:spcPct val="100000"/>
              </a:lnSpc>
              <a:spcBef>
                <a:spcPts val="0"/>
              </a:spcBef>
              <a:spcAft>
                <a:spcPts val="0"/>
              </a:spcAft>
              <a:buSzPts val="1400"/>
              <a:buNone/>
              <a:defRPr sz="1600">
                <a:latin typeface="Arial"/>
                <a:ea typeface="Arial"/>
                <a:cs typeface="Arial"/>
                <a:sym typeface="Arial"/>
              </a:defRPr>
            </a:lvl2pPr>
            <a:lvl3pPr marL="1371600" lvl="2" indent="-228600" algn="l">
              <a:lnSpc>
                <a:spcPct val="100000"/>
              </a:lnSpc>
              <a:spcBef>
                <a:spcPts val="0"/>
              </a:spcBef>
              <a:spcAft>
                <a:spcPts val="0"/>
              </a:spcAft>
              <a:buSzPts val="1400"/>
              <a:buNone/>
              <a:defRPr sz="1600">
                <a:latin typeface="Arial"/>
                <a:ea typeface="Arial"/>
                <a:cs typeface="Arial"/>
                <a:sym typeface="Arial"/>
              </a:defRPr>
            </a:lvl3pPr>
            <a:lvl4pPr marL="1828800" lvl="3" indent="-228600" algn="l">
              <a:lnSpc>
                <a:spcPct val="100000"/>
              </a:lnSpc>
              <a:spcBef>
                <a:spcPts val="0"/>
              </a:spcBef>
              <a:spcAft>
                <a:spcPts val="0"/>
              </a:spcAft>
              <a:buSzPts val="1400"/>
              <a:buNone/>
              <a:defRPr sz="1600">
                <a:latin typeface="Arial"/>
                <a:ea typeface="Arial"/>
                <a:cs typeface="Arial"/>
                <a:sym typeface="Arial"/>
              </a:defRPr>
            </a:lvl4pPr>
            <a:lvl5pPr marL="2286000" lvl="4" indent="-228600" algn="l">
              <a:lnSpc>
                <a:spcPct val="100000"/>
              </a:lnSpc>
              <a:spcBef>
                <a:spcPts val="0"/>
              </a:spcBef>
              <a:spcAft>
                <a:spcPts val="0"/>
              </a:spcAft>
              <a:buSzPts val="1400"/>
              <a:buNone/>
              <a:defRPr sz="1600">
                <a:latin typeface="Arial"/>
                <a:ea typeface="Arial"/>
                <a:cs typeface="Arial"/>
                <a:sym typeface="Aria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1" name="Google Shape;51;p6"/>
          <p:cNvSpPr txBox="1">
            <a:spLocks noGrp="1"/>
          </p:cNvSpPr>
          <p:nvPr>
            <p:ph type="body" idx="7"/>
          </p:nvPr>
        </p:nvSpPr>
        <p:spPr>
          <a:xfrm>
            <a:off x="680938" y="4987409"/>
            <a:ext cx="5050629" cy="246221"/>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sz="1600"/>
            </a:lvl2pPr>
            <a:lvl3pPr marL="1371600" lvl="2" indent="-228600" algn="l">
              <a:lnSpc>
                <a:spcPct val="100000"/>
              </a:lnSpc>
              <a:spcBef>
                <a:spcPts val="0"/>
              </a:spcBef>
              <a:spcAft>
                <a:spcPts val="0"/>
              </a:spcAft>
              <a:buSzPts val="1400"/>
              <a:buNone/>
              <a:defRPr sz="1600"/>
            </a:lvl3pPr>
            <a:lvl4pPr marL="1828800" lvl="3" indent="-228600" algn="l">
              <a:lnSpc>
                <a:spcPct val="100000"/>
              </a:lnSpc>
              <a:spcBef>
                <a:spcPts val="0"/>
              </a:spcBef>
              <a:spcAft>
                <a:spcPts val="0"/>
              </a:spcAft>
              <a:buSzPts val="1400"/>
              <a:buNone/>
              <a:defRPr sz="1600"/>
            </a:lvl4pPr>
            <a:lvl5pPr marL="2286000" lvl="4" indent="-228600" algn="l">
              <a:lnSpc>
                <a:spcPct val="100000"/>
              </a:lnSpc>
              <a:spcBef>
                <a:spcPts val="0"/>
              </a:spcBef>
              <a:spcAft>
                <a:spcPts val="0"/>
              </a:spcAft>
              <a:buSzPts val="1400"/>
              <a:buNone/>
              <a:defRPr sz="1600"/>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2" name="Google Shape;52;p6"/>
          <p:cNvSpPr>
            <a:spLocks noGrp="1"/>
          </p:cNvSpPr>
          <p:nvPr>
            <p:ph type="pic" idx="8"/>
          </p:nvPr>
        </p:nvSpPr>
        <p:spPr>
          <a:xfrm>
            <a:off x="609600" y="4041775"/>
            <a:ext cx="533400" cy="342900"/>
          </a:xfrm>
          <a:prstGeom prst="rect">
            <a:avLst/>
          </a:prstGeom>
          <a:noFill/>
          <a:ln>
            <a:noFill/>
          </a:ln>
        </p:spPr>
      </p:sp>
      <p:sp>
        <p:nvSpPr>
          <p:cNvPr id="53" name="Google Shape;53;p6"/>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F05F87"/>
                </a:solidFill>
              </a:defRPr>
            </a:lvl1pPr>
            <a:lvl2pPr lvl="1">
              <a:buNone/>
              <a:defRPr>
                <a:solidFill>
                  <a:srgbClr val="F05F87"/>
                </a:solidFill>
              </a:defRPr>
            </a:lvl2pPr>
            <a:lvl3pPr lvl="2">
              <a:buNone/>
              <a:defRPr>
                <a:solidFill>
                  <a:srgbClr val="F05F87"/>
                </a:solidFill>
              </a:defRPr>
            </a:lvl3pPr>
            <a:lvl4pPr lvl="3">
              <a:buNone/>
              <a:defRPr>
                <a:solidFill>
                  <a:srgbClr val="F05F87"/>
                </a:solidFill>
              </a:defRPr>
            </a:lvl4pPr>
            <a:lvl5pPr lvl="4">
              <a:buNone/>
              <a:defRPr>
                <a:solidFill>
                  <a:srgbClr val="F05F87"/>
                </a:solidFill>
              </a:defRPr>
            </a:lvl5pPr>
            <a:lvl6pPr lvl="5">
              <a:buNone/>
              <a:defRPr>
                <a:solidFill>
                  <a:srgbClr val="F05F87"/>
                </a:solidFill>
              </a:defRPr>
            </a:lvl6pPr>
            <a:lvl7pPr lvl="6">
              <a:buNone/>
              <a:defRPr>
                <a:solidFill>
                  <a:srgbClr val="F05F87"/>
                </a:solidFill>
              </a:defRPr>
            </a:lvl7pPr>
            <a:lvl8pPr lvl="7">
              <a:buNone/>
              <a:defRPr>
                <a:solidFill>
                  <a:srgbClr val="F05F87"/>
                </a:solidFill>
              </a:defRPr>
            </a:lvl8pPr>
            <a:lvl9pPr lvl="8">
              <a:buNone/>
              <a:defRPr>
                <a:solidFill>
                  <a:srgbClr val="F05F87"/>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he intro layout">
  <p:cSld name="The intro layout">
    <p:spTree>
      <p:nvGrpSpPr>
        <p:cNvPr id="1" name="Shape 54"/>
        <p:cNvGrpSpPr/>
        <p:nvPr/>
      </p:nvGrpSpPr>
      <p:grpSpPr>
        <a:xfrm>
          <a:off x="0" y="0"/>
          <a:ext cx="0" cy="0"/>
          <a:chOff x="0" y="0"/>
          <a:chExt cx="0" cy="0"/>
        </a:xfrm>
      </p:grpSpPr>
      <p:sp>
        <p:nvSpPr>
          <p:cNvPr id="55" name="Google Shape;55;p7"/>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latin typeface="Arial"/>
                <a:ea typeface="Arial"/>
                <a:cs typeface="Arial"/>
                <a:sym typeface="Aria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6" name="Google Shape;56;p7"/>
          <p:cNvSpPr>
            <a:spLocks noGrp="1"/>
          </p:cNvSpPr>
          <p:nvPr>
            <p:ph type="pic" idx="2"/>
          </p:nvPr>
        </p:nvSpPr>
        <p:spPr>
          <a:xfrm>
            <a:off x="5029200" y="1292225"/>
            <a:ext cx="6507163" cy="4498975"/>
          </a:xfrm>
          <a:prstGeom prst="rect">
            <a:avLst/>
          </a:prstGeom>
          <a:noFill/>
          <a:ln>
            <a:noFill/>
          </a:ln>
        </p:spPr>
      </p:sp>
      <p:sp>
        <p:nvSpPr>
          <p:cNvPr id="57" name="Google Shape;57;p7"/>
          <p:cNvSpPr/>
          <p:nvPr/>
        </p:nvSpPr>
        <p:spPr>
          <a:xfrm>
            <a:off x="609600" y="1292725"/>
            <a:ext cx="4103875" cy="5108075"/>
          </a:xfrm>
          <a:prstGeom prst="rect">
            <a:avLst/>
          </a:prstGeom>
          <a:solidFill>
            <a:srgbClr val="49547C"/>
          </a:solidFill>
          <a:ln w="9525"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58" name="Google Shape;58;p7"/>
          <p:cNvSpPr txBox="1">
            <a:spLocks noGrp="1"/>
          </p:cNvSpPr>
          <p:nvPr>
            <p:ph type="body" idx="3"/>
          </p:nvPr>
        </p:nvSpPr>
        <p:spPr>
          <a:xfrm>
            <a:off x="768350" y="1447800"/>
            <a:ext cx="3803650" cy="1231106"/>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solidFill>
                  <a:schemeClr val="lt1"/>
                </a:solidFill>
              </a:defRPr>
            </a:lvl1pPr>
            <a:lvl2pPr marL="914400" lvl="1" indent="-228600" algn="l">
              <a:lnSpc>
                <a:spcPct val="100000"/>
              </a:lnSpc>
              <a:spcBef>
                <a:spcPts val="0"/>
              </a:spcBef>
              <a:spcAft>
                <a:spcPts val="0"/>
              </a:spcAft>
              <a:buSzPts val="1400"/>
              <a:buNone/>
              <a:defRPr sz="1600">
                <a:solidFill>
                  <a:schemeClr val="lt1"/>
                </a:solidFill>
              </a:defRPr>
            </a:lvl2pPr>
            <a:lvl3pPr marL="1371600" lvl="2" indent="-228600" algn="l">
              <a:lnSpc>
                <a:spcPct val="100000"/>
              </a:lnSpc>
              <a:spcBef>
                <a:spcPts val="0"/>
              </a:spcBef>
              <a:spcAft>
                <a:spcPts val="0"/>
              </a:spcAft>
              <a:buSzPts val="1400"/>
              <a:buNone/>
              <a:defRPr sz="1600">
                <a:solidFill>
                  <a:schemeClr val="lt1"/>
                </a:solidFill>
              </a:defRPr>
            </a:lvl3pPr>
            <a:lvl4pPr marL="1828800" lvl="3" indent="-228600" algn="l">
              <a:lnSpc>
                <a:spcPct val="100000"/>
              </a:lnSpc>
              <a:spcBef>
                <a:spcPts val="0"/>
              </a:spcBef>
              <a:spcAft>
                <a:spcPts val="0"/>
              </a:spcAft>
              <a:buSzPts val="1400"/>
              <a:buNone/>
              <a:defRPr sz="1600">
                <a:solidFill>
                  <a:schemeClr val="lt1"/>
                </a:solidFill>
              </a:defRPr>
            </a:lvl4pPr>
            <a:lvl5pPr marL="2286000" lvl="4" indent="-228600" algn="l">
              <a:lnSpc>
                <a:spcPct val="100000"/>
              </a:lnSpc>
              <a:spcBef>
                <a:spcPts val="0"/>
              </a:spcBef>
              <a:spcAft>
                <a:spcPts val="0"/>
              </a:spcAft>
              <a:buSzPts val="1400"/>
              <a:buNone/>
              <a:defRPr sz="1600">
                <a:solidFill>
                  <a:schemeClr val="lt1"/>
                </a:solidFil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9" name="Google Shape;59;p7"/>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pic>
        <p:nvPicPr>
          <p:cNvPr id="60" name="Google Shape;60;p7"/>
          <p:cNvPicPr preferRelativeResize="0"/>
          <p:nvPr/>
        </p:nvPicPr>
        <p:blipFill rotWithShape="1">
          <a:blip r:embed="rId2">
            <a:alphaModFix/>
          </a:blip>
          <a:srcRect l="36235" t="56193" r="28551" b="28755"/>
          <a:stretch/>
        </p:blipFill>
        <p:spPr>
          <a:xfrm>
            <a:off x="614307" y="4966320"/>
            <a:ext cx="4069204" cy="1805548"/>
          </a:xfrm>
          <a:prstGeom prst="rect">
            <a:avLst/>
          </a:prstGeom>
          <a:noFill/>
          <a:ln>
            <a:noFill/>
          </a:ln>
        </p:spPr>
      </p:pic>
      <p:sp>
        <p:nvSpPr>
          <p:cNvPr id="61" name="Google Shape;61;p7"/>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62"/>
        <p:cNvGrpSpPr/>
        <p:nvPr/>
      </p:nvGrpSpPr>
      <p:grpSpPr>
        <a:xfrm>
          <a:off x="0" y="0"/>
          <a:ext cx="0" cy="0"/>
          <a:chOff x="0" y="0"/>
          <a:chExt cx="0" cy="0"/>
        </a:xfrm>
      </p:grpSpPr>
      <p:sp>
        <p:nvSpPr>
          <p:cNvPr id="63" name="Google Shape;63;p8"/>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8"/>
          <p:cNvSpPr/>
          <p:nvPr/>
        </p:nvSpPr>
        <p:spPr>
          <a:xfrm>
            <a:off x="8362188" y="1930907"/>
            <a:ext cx="544195" cy="471170"/>
          </a:xfrm>
          <a:custGeom>
            <a:avLst/>
            <a:gdLst/>
            <a:ahLst/>
            <a:cxnLst/>
            <a:rect l="l" t="t" r="r" b="b"/>
            <a:pathLst>
              <a:path w="544195" h="471169" extrusionOk="0">
                <a:moveTo>
                  <a:pt x="477011" y="67309"/>
                </a:moveTo>
                <a:lnTo>
                  <a:pt x="74548" y="67309"/>
                </a:lnTo>
                <a:lnTo>
                  <a:pt x="47148" y="73727"/>
                </a:lnTo>
                <a:lnTo>
                  <a:pt x="23272" y="90646"/>
                </a:lnTo>
                <a:lnTo>
                  <a:pt x="6397" y="114565"/>
                </a:lnTo>
                <a:lnTo>
                  <a:pt x="0" y="141986"/>
                </a:lnTo>
                <a:lnTo>
                  <a:pt x="0" y="396113"/>
                </a:lnTo>
                <a:lnTo>
                  <a:pt x="6397" y="423606"/>
                </a:lnTo>
                <a:lnTo>
                  <a:pt x="23272" y="447563"/>
                </a:lnTo>
                <a:lnTo>
                  <a:pt x="47148" y="464496"/>
                </a:lnTo>
                <a:lnTo>
                  <a:pt x="74548" y="470915"/>
                </a:lnTo>
                <a:lnTo>
                  <a:pt x="477011" y="470915"/>
                </a:lnTo>
                <a:lnTo>
                  <a:pt x="503187" y="464496"/>
                </a:lnTo>
                <a:lnTo>
                  <a:pt x="524494" y="447563"/>
                </a:lnTo>
                <a:lnTo>
                  <a:pt x="538823" y="423606"/>
                </a:lnTo>
                <a:lnTo>
                  <a:pt x="544067" y="396113"/>
                </a:lnTo>
                <a:lnTo>
                  <a:pt x="275716" y="396113"/>
                </a:lnTo>
                <a:lnTo>
                  <a:pt x="227643" y="386770"/>
                </a:lnTo>
                <a:lnTo>
                  <a:pt x="187261" y="360616"/>
                </a:lnTo>
                <a:lnTo>
                  <a:pt x="159452" y="320460"/>
                </a:lnTo>
                <a:lnTo>
                  <a:pt x="149097" y="269113"/>
                </a:lnTo>
                <a:lnTo>
                  <a:pt x="159452" y="220853"/>
                </a:lnTo>
                <a:lnTo>
                  <a:pt x="187261" y="180308"/>
                </a:lnTo>
                <a:lnTo>
                  <a:pt x="227643" y="152384"/>
                </a:lnTo>
                <a:lnTo>
                  <a:pt x="275716" y="141986"/>
                </a:lnTo>
                <a:lnTo>
                  <a:pt x="544067" y="141986"/>
                </a:lnTo>
                <a:lnTo>
                  <a:pt x="538823" y="114565"/>
                </a:lnTo>
                <a:lnTo>
                  <a:pt x="524494" y="90646"/>
                </a:lnTo>
                <a:lnTo>
                  <a:pt x="503187" y="73727"/>
                </a:lnTo>
                <a:lnTo>
                  <a:pt x="477011" y="67309"/>
                </a:lnTo>
                <a:close/>
              </a:path>
              <a:path w="544195" h="471169" extrusionOk="0">
                <a:moveTo>
                  <a:pt x="544067" y="141986"/>
                </a:moveTo>
                <a:lnTo>
                  <a:pt x="275716" y="141986"/>
                </a:lnTo>
                <a:lnTo>
                  <a:pt x="323863" y="152384"/>
                </a:lnTo>
                <a:lnTo>
                  <a:pt x="364283" y="180308"/>
                </a:lnTo>
                <a:lnTo>
                  <a:pt x="392106" y="220853"/>
                </a:lnTo>
                <a:lnTo>
                  <a:pt x="402462" y="269113"/>
                </a:lnTo>
                <a:lnTo>
                  <a:pt x="392106" y="320460"/>
                </a:lnTo>
                <a:lnTo>
                  <a:pt x="364283" y="360616"/>
                </a:lnTo>
                <a:lnTo>
                  <a:pt x="323863" y="386770"/>
                </a:lnTo>
                <a:lnTo>
                  <a:pt x="275716" y="396113"/>
                </a:lnTo>
                <a:lnTo>
                  <a:pt x="544067" y="396113"/>
                </a:lnTo>
                <a:lnTo>
                  <a:pt x="544067" y="141986"/>
                </a:lnTo>
                <a:close/>
              </a:path>
              <a:path w="544195" h="471169" extrusionOk="0">
                <a:moveTo>
                  <a:pt x="275716" y="186816"/>
                </a:moveTo>
                <a:lnTo>
                  <a:pt x="244058" y="193371"/>
                </a:lnTo>
                <a:lnTo>
                  <a:pt x="217995" y="211153"/>
                </a:lnTo>
                <a:lnTo>
                  <a:pt x="200314" y="237341"/>
                </a:lnTo>
                <a:lnTo>
                  <a:pt x="193801" y="269113"/>
                </a:lnTo>
                <a:lnTo>
                  <a:pt x="200314" y="300864"/>
                </a:lnTo>
                <a:lnTo>
                  <a:pt x="217995" y="327009"/>
                </a:lnTo>
                <a:lnTo>
                  <a:pt x="244058" y="344747"/>
                </a:lnTo>
                <a:lnTo>
                  <a:pt x="275716" y="351281"/>
                </a:lnTo>
                <a:lnTo>
                  <a:pt x="307395" y="344747"/>
                </a:lnTo>
                <a:lnTo>
                  <a:pt x="333501" y="327009"/>
                </a:lnTo>
                <a:lnTo>
                  <a:pt x="351226" y="300864"/>
                </a:lnTo>
                <a:lnTo>
                  <a:pt x="357758" y="269113"/>
                </a:lnTo>
                <a:lnTo>
                  <a:pt x="351226" y="237341"/>
                </a:lnTo>
                <a:lnTo>
                  <a:pt x="333501" y="211153"/>
                </a:lnTo>
                <a:lnTo>
                  <a:pt x="307395" y="193371"/>
                </a:lnTo>
                <a:lnTo>
                  <a:pt x="275716" y="186816"/>
                </a:lnTo>
                <a:close/>
              </a:path>
              <a:path w="544195" h="471169" extrusionOk="0">
                <a:moveTo>
                  <a:pt x="350265" y="0"/>
                </a:moveTo>
                <a:lnTo>
                  <a:pt x="201167" y="0"/>
                </a:lnTo>
                <a:lnTo>
                  <a:pt x="188968" y="2573"/>
                </a:lnTo>
                <a:lnTo>
                  <a:pt x="176053" y="9350"/>
                </a:lnTo>
                <a:lnTo>
                  <a:pt x="164520" y="18913"/>
                </a:lnTo>
                <a:lnTo>
                  <a:pt x="156463" y="29844"/>
                </a:lnTo>
                <a:lnTo>
                  <a:pt x="141604" y="67309"/>
                </a:lnTo>
                <a:lnTo>
                  <a:pt x="409955" y="67309"/>
                </a:lnTo>
                <a:lnTo>
                  <a:pt x="394969" y="29844"/>
                </a:lnTo>
                <a:lnTo>
                  <a:pt x="362537" y="2573"/>
                </a:lnTo>
                <a:lnTo>
                  <a:pt x="350265" y="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65" name="Google Shape;65;p8"/>
          <p:cNvSpPr/>
          <p:nvPr/>
        </p:nvSpPr>
        <p:spPr>
          <a:xfrm>
            <a:off x="9963911" y="3695700"/>
            <a:ext cx="576580" cy="306705"/>
          </a:xfrm>
          <a:custGeom>
            <a:avLst/>
            <a:gdLst/>
            <a:ahLst/>
            <a:cxnLst/>
            <a:rect l="l" t="t" r="r" b="b"/>
            <a:pathLst>
              <a:path w="576579" h="306704" extrusionOk="0">
                <a:moveTo>
                  <a:pt x="418211" y="0"/>
                </a:moveTo>
                <a:lnTo>
                  <a:pt x="149987" y="0"/>
                </a:lnTo>
                <a:lnTo>
                  <a:pt x="101031" y="8047"/>
                </a:lnTo>
                <a:lnTo>
                  <a:pt x="59664" y="30427"/>
                </a:lnTo>
                <a:lnTo>
                  <a:pt x="27777" y="64492"/>
                </a:lnTo>
                <a:lnTo>
                  <a:pt x="7259" y="107598"/>
                </a:lnTo>
                <a:lnTo>
                  <a:pt x="0" y="157099"/>
                </a:lnTo>
                <a:lnTo>
                  <a:pt x="7259" y="202757"/>
                </a:lnTo>
                <a:lnTo>
                  <a:pt x="27777" y="243532"/>
                </a:lnTo>
                <a:lnTo>
                  <a:pt x="59664" y="276400"/>
                </a:lnTo>
                <a:lnTo>
                  <a:pt x="101031" y="298339"/>
                </a:lnTo>
                <a:lnTo>
                  <a:pt x="149987" y="306324"/>
                </a:lnTo>
                <a:lnTo>
                  <a:pt x="179288" y="303496"/>
                </a:lnTo>
                <a:lnTo>
                  <a:pt x="207137" y="295513"/>
                </a:lnTo>
                <a:lnTo>
                  <a:pt x="232032" y="283124"/>
                </a:lnTo>
                <a:lnTo>
                  <a:pt x="252476" y="267081"/>
                </a:lnTo>
                <a:lnTo>
                  <a:pt x="521007" y="267081"/>
                </a:lnTo>
                <a:lnTo>
                  <a:pt x="537401" y="251332"/>
                </a:lnTo>
                <a:lnTo>
                  <a:pt x="126238" y="251332"/>
                </a:lnTo>
                <a:lnTo>
                  <a:pt x="126238" y="180594"/>
                </a:lnTo>
                <a:lnTo>
                  <a:pt x="55245" y="180594"/>
                </a:lnTo>
                <a:lnTo>
                  <a:pt x="55245" y="125730"/>
                </a:lnTo>
                <a:lnTo>
                  <a:pt x="126238" y="125730"/>
                </a:lnTo>
                <a:lnTo>
                  <a:pt x="126238" y="54991"/>
                </a:lnTo>
                <a:lnTo>
                  <a:pt x="535978" y="54991"/>
                </a:lnTo>
                <a:lnTo>
                  <a:pt x="511305" y="30427"/>
                </a:lnTo>
                <a:lnTo>
                  <a:pt x="467985" y="8047"/>
                </a:lnTo>
                <a:lnTo>
                  <a:pt x="418211" y="0"/>
                </a:lnTo>
                <a:close/>
              </a:path>
              <a:path w="576579" h="306704" extrusionOk="0">
                <a:moveTo>
                  <a:pt x="521007" y="267081"/>
                </a:moveTo>
                <a:lnTo>
                  <a:pt x="315595" y="267081"/>
                </a:lnTo>
                <a:lnTo>
                  <a:pt x="339433" y="283124"/>
                </a:lnTo>
                <a:lnTo>
                  <a:pt x="363997" y="295513"/>
                </a:lnTo>
                <a:lnTo>
                  <a:pt x="390015" y="303496"/>
                </a:lnTo>
                <a:lnTo>
                  <a:pt x="418211" y="306324"/>
                </a:lnTo>
                <a:lnTo>
                  <a:pt x="467985" y="298339"/>
                </a:lnTo>
                <a:lnTo>
                  <a:pt x="511305" y="276400"/>
                </a:lnTo>
                <a:lnTo>
                  <a:pt x="521007" y="267081"/>
                </a:lnTo>
                <a:close/>
              </a:path>
              <a:path w="576579" h="306704" extrusionOk="0">
                <a:moveTo>
                  <a:pt x="535978" y="54991"/>
                </a:moveTo>
                <a:lnTo>
                  <a:pt x="173609" y="54991"/>
                </a:lnTo>
                <a:lnTo>
                  <a:pt x="181483" y="62864"/>
                </a:lnTo>
                <a:lnTo>
                  <a:pt x="181483" y="125730"/>
                </a:lnTo>
                <a:lnTo>
                  <a:pt x="244602" y="125730"/>
                </a:lnTo>
                <a:lnTo>
                  <a:pt x="244602" y="180594"/>
                </a:lnTo>
                <a:lnTo>
                  <a:pt x="181483" y="180594"/>
                </a:lnTo>
                <a:lnTo>
                  <a:pt x="181409" y="243532"/>
                </a:lnTo>
                <a:lnTo>
                  <a:pt x="173609" y="251332"/>
                </a:lnTo>
                <a:lnTo>
                  <a:pt x="537401" y="251332"/>
                </a:lnTo>
                <a:lnTo>
                  <a:pt x="545522" y="243532"/>
                </a:lnTo>
                <a:lnTo>
                  <a:pt x="554171" y="227837"/>
                </a:lnTo>
                <a:lnTo>
                  <a:pt x="378841" y="227837"/>
                </a:lnTo>
                <a:lnTo>
                  <a:pt x="365972" y="225008"/>
                </a:lnTo>
                <a:lnTo>
                  <a:pt x="353139" y="217011"/>
                </a:lnTo>
                <a:lnTo>
                  <a:pt x="343282" y="204585"/>
                </a:lnTo>
                <a:lnTo>
                  <a:pt x="339344" y="188468"/>
                </a:lnTo>
                <a:lnTo>
                  <a:pt x="343282" y="176976"/>
                </a:lnTo>
                <a:lnTo>
                  <a:pt x="353139" y="166925"/>
                </a:lnTo>
                <a:lnTo>
                  <a:pt x="365972" y="159803"/>
                </a:lnTo>
                <a:lnTo>
                  <a:pt x="378841" y="157099"/>
                </a:lnTo>
                <a:lnTo>
                  <a:pt x="457708" y="157099"/>
                </a:lnTo>
                <a:lnTo>
                  <a:pt x="441571" y="153163"/>
                </a:lnTo>
                <a:lnTo>
                  <a:pt x="429101" y="143335"/>
                </a:lnTo>
                <a:lnTo>
                  <a:pt x="421060" y="130577"/>
                </a:lnTo>
                <a:lnTo>
                  <a:pt x="418211" y="117856"/>
                </a:lnTo>
                <a:lnTo>
                  <a:pt x="421060" y="101738"/>
                </a:lnTo>
                <a:lnTo>
                  <a:pt x="429101" y="89312"/>
                </a:lnTo>
                <a:lnTo>
                  <a:pt x="441571" y="81315"/>
                </a:lnTo>
                <a:lnTo>
                  <a:pt x="457708" y="78486"/>
                </a:lnTo>
                <a:lnTo>
                  <a:pt x="552817" y="78486"/>
                </a:lnTo>
                <a:lnTo>
                  <a:pt x="545522" y="64492"/>
                </a:lnTo>
                <a:lnTo>
                  <a:pt x="535978" y="54991"/>
                </a:lnTo>
                <a:close/>
              </a:path>
              <a:path w="576579" h="306704" extrusionOk="0">
                <a:moveTo>
                  <a:pt x="552817" y="78486"/>
                </a:moveTo>
                <a:lnTo>
                  <a:pt x="457708" y="78486"/>
                </a:lnTo>
                <a:lnTo>
                  <a:pt x="473844" y="81315"/>
                </a:lnTo>
                <a:lnTo>
                  <a:pt x="486314" y="89312"/>
                </a:lnTo>
                <a:lnTo>
                  <a:pt x="494355" y="101738"/>
                </a:lnTo>
                <a:lnTo>
                  <a:pt x="497205" y="117856"/>
                </a:lnTo>
                <a:lnTo>
                  <a:pt x="494355" y="130577"/>
                </a:lnTo>
                <a:lnTo>
                  <a:pt x="486314" y="143335"/>
                </a:lnTo>
                <a:lnTo>
                  <a:pt x="473844" y="153163"/>
                </a:lnTo>
                <a:lnTo>
                  <a:pt x="457708" y="157099"/>
                </a:lnTo>
                <a:lnTo>
                  <a:pt x="378841" y="157099"/>
                </a:lnTo>
                <a:lnTo>
                  <a:pt x="394958" y="159803"/>
                </a:lnTo>
                <a:lnTo>
                  <a:pt x="407384" y="166925"/>
                </a:lnTo>
                <a:lnTo>
                  <a:pt x="415381" y="176976"/>
                </a:lnTo>
                <a:lnTo>
                  <a:pt x="418211" y="188468"/>
                </a:lnTo>
                <a:lnTo>
                  <a:pt x="415381" y="204585"/>
                </a:lnTo>
                <a:lnTo>
                  <a:pt x="407384" y="217011"/>
                </a:lnTo>
                <a:lnTo>
                  <a:pt x="394958" y="225008"/>
                </a:lnTo>
                <a:lnTo>
                  <a:pt x="378841" y="227837"/>
                </a:lnTo>
                <a:lnTo>
                  <a:pt x="554171" y="227837"/>
                </a:lnTo>
                <a:lnTo>
                  <a:pt x="567993" y="202757"/>
                </a:lnTo>
                <a:lnTo>
                  <a:pt x="576072" y="157099"/>
                </a:lnTo>
                <a:lnTo>
                  <a:pt x="567993" y="107598"/>
                </a:lnTo>
                <a:lnTo>
                  <a:pt x="552817" y="78486"/>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grpSp>
        <p:nvGrpSpPr>
          <p:cNvPr id="66" name="Google Shape;66;p8"/>
          <p:cNvGrpSpPr/>
          <p:nvPr/>
        </p:nvGrpSpPr>
        <p:grpSpPr>
          <a:xfrm>
            <a:off x="673954" y="1822459"/>
            <a:ext cx="544195" cy="3663941"/>
            <a:chOff x="673954" y="1600200"/>
            <a:chExt cx="544195" cy="3663941"/>
          </a:xfrm>
        </p:grpSpPr>
        <p:grpSp>
          <p:nvGrpSpPr>
            <p:cNvPr id="67" name="Google Shape;67;p8"/>
            <p:cNvGrpSpPr/>
            <p:nvPr/>
          </p:nvGrpSpPr>
          <p:grpSpPr>
            <a:xfrm>
              <a:off x="673954" y="1600200"/>
              <a:ext cx="544195" cy="563918"/>
              <a:chOff x="673954" y="1600200"/>
              <a:chExt cx="544195" cy="563918"/>
            </a:xfrm>
          </p:grpSpPr>
          <p:sp>
            <p:nvSpPr>
              <p:cNvPr id="68" name="Google Shape;68;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EF5F8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69" name="Google Shape;69;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0" name="Google Shape;70;p8"/>
            <p:cNvGrpSpPr/>
            <p:nvPr/>
          </p:nvGrpSpPr>
          <p:grpSpPr>
            <a:xfrm>
              <a:off x="673954" y="2633541"/>
              <a:ext cx="544195" cy="563918"/>
              <a:chOff x="673954" y="1600200"/>
              <a:chExt cx="544195" cy="563918"/>
            </a:xfrm>
          </p:grpSpPr>
          <p:sp>
            <p:nvSpPr>
              <p:cNvPr id="71" name="Google Shape;71;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92D050"/>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2" name="Google Shape;72;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3" name="Google Shape;73;p8"/>
            <p:cNvGrpSpPr/>
            <p:nvPr/>
          </p:nvGrpSpPr>
          <p:grpSpPr>
            <a:xfrm>
              <a:off x="673954" y="3666882"/>
              <a:ext cx="544195" cy="563918"/>
              <a:chOff x="673954" y="1600200"/>
              <a:chExt cx="544195" cy="563918"/>
            </a:xfrm>
          </p:grpSpPr>
          <p:sp>
            <p:nvSpPr>
              <p:cNvPr id="74" name="Google Shape;74;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4A557D"/>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5" name="Google Shape;75;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nvGrpSpPr>
            <p:cNvPr id="76" name="Google Shape;76;p8"/>
            <p:cNvGrpSpPr/>
            <p:nvPr/>
          </p:nvGrpSpPr>
          <p:grpSpPr>
            <a:xfrm>
              <a:off x="673954" y="4700223"/>
              <a:ext cx="544195" cy="563918"/>
              <a:chOff x="673954" y="1600200"/>
              <a:chExt cx="544195" cy="563918"/>
            </a:xfrm>
          </p:grpSpPr>
          <p:sp>
            <p:nvSpPr>
              <p:cNvPr id="77" name="Google Shape;77;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F5BE2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chemeClr val="dk1"/>
                  </a:solidFill>
                  <a:latin typeface="Open Sans"/>
                  <a:ea typeface="Open Sans"/>
                  <a:cs typeface="Open Sans"/>
                  <a:sym typeface="Open Sans"/>
                </a:endParaRPr>
              </a:p>
            </p:txBody>
          </p:sp>
          <p:sp>
            <p:nvSpPr>
              <p:cNvPr id="78" name="Google Shape;78;p8"/>
              <p:cNvSpPr txBox="1"/>
              <p:nvPr/>
            </p:nvSpPr>
            <p:spPr>
              <a:xfrm>
                <a:off x="875154" y="1691081"/>
                <a:ext cx="141795" cy="320601"/>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000"/>
                  <a:buFont typeface="Arial"/>
                  <a:buNone/>
                </a:pPr>
                <a:r>
                  <a:rPr lang="en-GB" sz="2000" b="0" i="0" u="none" strike="noStrike" cap="none">
                    <a:solidFill>
                      <a:srgbClr val="FFFFFF"/>
                    </a:solidFill>
                    <a:latin typeface="Arial"/>
                    <a:ea typeface="Arial"/>
                    <a:cs typeface="Arial"/>
                    <a:sym typeface="Arial"/>
                  </a:rPr>
                  <a:t>1</a:t>
                </a:r>
                <a:endParaRPr sz="2000" b="0" i="0" u="none" strike="noStrike" cap="none">
                  <a:solidFill>
                    <a:schemeClr val="dk1"/>
                  </a:solidFill>
                  <a:latin typeface="Arial"/>
                  <a:ea typeface="Arial"/>
                  <a:cs typeface="Arial"/>
                  <a:sym typeface="Arial"/>
                </a:endParaRPr>
              </a:p>
            </p:txBody>
          </p:sp>
        </p:grpSp>
      </p:grpSp>
      <p:grpSp>
        <p:nvGrpSpPr>
          <p:cNvPr id="79" name="Google Shape;79;p8"/>
          <p:cNvGrpSpPr/>
          <p:nvPr/>
        </p:nvGrpSpPr>
        <p:grpSpPr>
          <a:xfrm>
            <a:off x="7580756" y="1822459"/>
            <a:ext cx="544195" cy="3663941"/>
            <a:chOff x="826354" y="1752600"/>
            <a:chExt cx="544195" cy="3663941"/>
          </a:xfrm>
        </p:grpSpPr>
        <p:grpSp>
          <p:nvGrpSpPr>
            <p:cNvPr id="80" name="Google Shape;80;p8"/>
            <p:cNvGrpSpPr/>
            <p:nvPr/>
          </p:nvGrpSpPr>
          <p:grpSpPr>
            <a:xfrm>
              <a:off x="826354" y="1752600"/>
              <a:ext cx="544195" cy="563918"/>
              <a:chOff x="673954" y="1600200"/>
              <a:chExt cx="544195" cy="563918"/>
            </a:xfrm>
          </p:grpSpPr>
          <p:sp>
            <p:nvSpPr>
              <p:cNvPr id="81" name="Google Shape;81;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F5BE2E"/>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2" name="Google Shape;82;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3" name="Google Shape;83;p8"/>
            <p:cNvGrpSpPr/>
            <p:nvPr/>
          </p:nvGrpSpPr>
          <p:grpSpPr>
            <a:xfrm>
              <a:off x="826354" y="2785941"/>
              <a:ext cx="544195" cy="563918"/>
              <a:chOff x="673954" y="1600200"/>
              <a:chExt cx="544195" cy="563918"/>
            </a:xfrm>
          </p:grpSpPr>
          <p:sp>
            <p:nvSpPr>
              <p:cNvPr id="84" name="Google Shape;84;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4A557D"/>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5" name="Google Shape;85;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6" name="Google Shape;86;p8"/>
            <p:cNvGrpSpPr/>
            <p:nvPr/>
          </p:nvGrpSpPr>
          <p:grpSpPr>
            <a:xfrm>
              <a:off x="826354" y="3819282"/>
              <a:ext cx="544195" cy="563918"/>
              <a:chOff x="673954" y="1600200"/>
              <a:chExt cx="544195" cy="563918"/>
            </a:xfrm>
          </p:grpSpPr>
          <p:sp>
            <p:nvSpPr>
              <p:cNvPr id="87" name="Google Shape;87;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81C67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88" name="Google Shape;88;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nvGrpSpPr>
            <p:cNvPr id="89" name="Google Shape;89;p8"/>
            <p:cNvGrpSpPr/>
            <p:nvPr/>
          </p:nvGrpSpPr>
          <p:grpSpPr>
            <a:xfrm>
              <a:off x="826354" y="4852623"/>
              <a:ext cx="544195" cy="563918"/>
              <a:chOff x="673954" y="1600200"/>
              <a:chExt cx="544195" cy="563918"/>
            </a:xfrm>
          </p:grpSpPr>
          <p:sp>
            <p:nvSpPr>
              <p:cNvPr id="90" name="Google Shape;90;p8"/>
              <p:cNvSpPr/>
              <p:nvPr/>
            </p:nvSpPr>
            <p:spPr>
              <a:xfrm>
                <a:off x="673954" y="1600200"/>
                <a:ext cx="544195" cy="563918"/>
              </a:xfrm>
              <a:custGeom>
                <a:avLst/>
                <a:gdLst/>
                <a:ahLst/>
                <a:cxnLst/>
                <a:rect l="l" t="t" r="r" b="b"/>
                <a:pathLst>
                  <a:path w="1553845" h="1552575" extrusionOk="0">
                    <a:moveTo>
                      <a:pt x="799009" y="0"/>
                    </a:moveTo>
                    <a:lnTo>
                      <a:pt x="754814" y="0"/>
                    </a:lnTo>
                    <a:lnTo>
                      <a:pt x="710677" y="2496"/>
                    </a:lnTo>
                    <a:lnTo>
                      <a:pt x="666714" y="7488"/>
                    </a:lnTo>
                    <a:lnTo>
                      <a:pt x="623038" y="14976"/>
                    </a:lnTo>
                    <a:lnTo>
                      <a:pt x="579765" y="24960"/>
                    </a:lnTo>
                    <a:lnTo>
                      <a:pt x="537011" y="37441"/>
                    </a:lnTo>
                    <a:lnTo>
                      <a:pt x="494890" y="52418"/>
                    </a:lnTo>
                    <a:lnTo>
                      <a:pt x="453517" y="69890"/>
                    </a:lnTo>
                    <a:lnTo>
                      <a:pt x="413007" y="89859"/>
                    </a:lnTo>
                    <a:lnTo>
                      <a:pt x="373475" y="112324"/>
                    </a:lnTo>
                    <a:lnTo>
                      <a:pt x="335036" y="137285"/>
                    </a:lnTo>
                    <a:lnTo>
                      <a:pt x="297806" y="164742"/>
                    </a:lnTo>
                    <a:lnTo>
                      <a:pt x="261899" y="194695"/>
                    </a:lnTo>
                    <a:lnTo>
                      <a:pt x="227430" y="227144"/>
                    </a:lnTo>
                    <a:lnTo>
                      <a:pt x="194940" y="261584"/>
                    </a:lnTo>
                    <a:lnTo>
                      <a:pt x="164949" y="297460"/>
                    </a:lnTo>
                    <a:lnTo>
                      <a:pt x="137457" y="334657"/>
                    </a:lnTo>
                    <a:lnTo>
                      <a:pt x="112465" y="373061"/>
                    </a:lnTo>
                    <a:lnTo>
                      <a:pt x="89972" y="412557"/>
                    </a:lnTo>
                    <a:lnTo>
                      <a:pt x="69978" y="453029"/>
                    </a:lnTo>
                    <a:lnTo>
                      <a:pt x="52483" y="494364"/>
                    </a:lnTo>
                    <a:lnTo>
                      <a:pt x="37488" y="536445"/>
                    </a:lnTo>
                    <a:lnTo>
                      <a:pt x="24992" y="579158"/>
                    </a:lnTo>
                    <a:lnTo>
                      <a:pt x="14995" y="622389"/>
                    </a:lnTo>
                    <a:lnTo>
                      <a:pt x="7497" y="666022"/>
                    </a:lnTo>
                    <a:lnTo>
                      <a:pt x="2499" y="709943"/>
                    </a:lnTo>
                    <a:lnTo>
                      <a:pt x="0" y="754036"/>
                    </a:lnTo>
                    <a:lnTo>
                      <a:pt x="0" y="798187"/>
                    </a:lnTo>
                    <a:lnTo>
                      <a:pt x="2499" y="842281"/>
                    </a:lnTo>
                    <a:lnTo>
                      <a:pt x="7497" y="886203"/>
                    </a:lnTo>
                    <a:lnTo>
                      <a:pt x="14995" y="929838"/>
                    </a:lnTo>
                    <a:lnTo>
                      <a:pt x="24992" y="973071"/>
                    </a:lnTo>
                    <a:lnTo>
                      <a:pt x="37488" y="1015788"/>
                    </a:lnTo>
                    <a:lnTo>
                      <a:pt x="52483" y="1057873"/>
                    </a:lnTo>
                    <a:lnTo>
                      <a:pt x="69978" y="1099211"/>
                    </a:lnTo>
                    <a:lnTo>
                      <a:pt x="89972" y="1139689"/>
                    </a:lnTo>
                    <a:lnTo>
                      <a:pt x="112465" y="1179190"/>
                    </a:lnTo>
                    <a:lnTo>
                      <a:pt x="137457" y="1217600"/>
                    </a:lnTo>
                    <a:lnTo>
                      <a:pt x="164949" y="1254804"/>
                    </a:lnTo>
                    <a:lnTo>
                      <a:pt x="194940" y="1290688"/>
                    </a:lnTo>
                    <a:lnTo>
                      <a:pt x="227430" y="1325136"/>
                    </a:lnTo>
                    <a:lnTo>
                      <a:pt x="261899" y="1357584"/>
                    </a:lnTo>
                    <a:lnTo>
                      <a:pt x="297806" y="1387536"/>
                    </a:lnTo>
                    <a:lnTo>
                      <a:pt x="335036" y="1414991"/>
                    </a:lnTo>
                    <a:lnTo>
                      <a:pt x="373475" y="1439951"/>
                    </a:lnTo>
                    <a:lnTo>
                      <a:pt x="413007" y="1462415"/>
                    </a:lnTo>
                    <a:lnTo>
                      <a:pt x="453517" y="1482383"/>
                    </a:lnTo>
                    <a:lnTo>
                      <a:pt x="494890" y="1499855"/>
                    </a:lnTo>
                    <a:lnTo>
                      <a:pt x="537011" y="1514831"/>
                    </a:lnTo>
                    <a:lnTo>
                      <a:pt x="579765" y="1527311"/>
                    </a:lnTo>
                    <a:lnTo>
                      <a:pt x="623038" y="1537295"/>
                    </a:lnTo>
                    <a:lnTo>
                      <a:pt x="666714" y="1544783"/>
                    </a:lnTo>
                    <a:lnTo>
                      <a:pt x="710677" y="1549775"/>
                    </a:lnTo>
                    <a:lnTo>
                      <a:pt x="754814" y="1552271"/>
                    </a:lnTo>
                    <a:lnTo>
                      <a:pt x="799009" y="1552271"/>
                    </a:lnTo>
                    <a:lnTo>
                      <a:pt x="843146" y="1549775"/>
                    </a:lnTo>
                    <a:lnTo>
                      <a:pt x="887112" y="1544783"/>
                    </a:lnTo>
                    <a:lnTo>
                      <a:pt x="930791" y="1537295"/>
                    </a:lnTo>
                    <a:lnTo>
                      <a:pt x="974068" y="1527311"/>
                    </a:lnTo>
                    <a:lnTo>
                      <a:pt x="1016827" y="1514831"/>
                    </a:lnTo>
                    <a:lnTo>
                      <a:pt x="1058955" y="1499855"/>
                    </a:lnTo>
                    <a:lnTo>
                      <a:pt x="1100335" y="1482383"/>
                    </a:lnTo>
                    <a:lnTo>
                      <a:pt x="1140854" y="1462415"/>
                    </a:lnTo>
                    <a:lnTo>
                      <a:pt x="1180395" y="1439951"/>
                    </a:lnTo>
                    <a:lnTo>
                      <a:pt x="1218844" y="1414991"/>
                    </a:lnTo>
                    <a:lnTo>
                      <a:pt x="1256086" y="1387536"/>
                    </a:lnTo>
                    <a:lnTo>
                      <a:pt x="1292005" y="1357584"/>
                    </a:lnTo>
                    <a:lnTo>
                      <a:pt x="1326488" y="1325136"/>
                    </a:lnTo>
                    <a:lnTo>
                      <a:pt x="1358964" y="1290688"/>
                    </a:lnTo>
                    <a:lnTo>
                      <a:pt x="1388943" y="1254804"/>
                    </a:lnTo>
                    <a:lnTo>
                      <a:pt x="1416423" y="1217600"/>
                    </a:lnTo>
                    <a:lnTo>
                      <a:pt x="1441405" y="1179190"/>
                    </a:lnTo>
                    <a:lnTo>
                      <a:pt x="1463888" y="1139689"/>
                    </a:lnTo>
                    <a:lnTo>
                      <a:pt x="1483874" y="1099211"/>
                    </a:lnTo>
                    <a:lnTo>
                      <a:pt x="1501361" y="1057873"/>
                    </a:lnTo>
                    <a:lnTo>
                      <a:pt x="1516350" y="1015788"/>
                    </a:lnTo>
                    <a:lnTo>
                      <a:pt x="1528841" y="973071"/>
                    </a:lnTo>
                    <a:lnTo>
                      <a:pt x="1538834" y="929838"/>
                    </a:lnTo>
                    <a:lnTo>
                      <a:pt x="1546329" y="886203"/>
                    </a:lnTo>
                    <a:lnTo>
                      <a:pt x="1551325" y="842281"/>
                    </a:lnTo>
                    <a:lnTo>
                      <a:pt x="1553823" y="798187"/>
                    </a:lnTo>
                    <a:lnTo>
                      <a:pt x="1553823" y="754036"/>
                    </a:lnTo>
                    <a:lnTo>
                      <a:pt x="1551325" y="709943"/>
                    </a:lnTo>
                    <a:lnTo>
                      <a:pt x="1546329" y="666022"/>
                    </a:lnTo>
                    <a:lnTo>
                      <a:pt x="1538834" y="622389"/>
                    </a:lnTo>
                    <a:lnTo>
                      <a:pt x="1528841" y="579158"/>
                    </a:lnTo>
                    <a:lnTo>
                      <a:pt x="1516350" y="536445"/>
                    </a:lnTo>
                    <a:lnTo>
                      <a:pt x="1501361" y="494364"/>
                    </a:lnTo>
                    <a:lnTo>
                      <a:pt x="1483874" y="453029"/>
                    </a:lnTo>
                    <a:lnTo>
                      <a:pt x="1463888" y="412557"/>
                    </a:lnTo>
                    <a:lnTo>
                      <a:pt x="1441405" y="373061"/>
                    </a:lnTo>
                    <a:lnTo>
                      <a:pt x="1416423" y="334657"/>
                    </a:lnTo>
                    <a:lnTo>
                      <a:pt x="1388943" y="297460"/>
                    </a:lnTo>
                    <a:lnTo>
                      <a:pt x="1358964" y="261584"/>
                    </a:lnTo>
                    <a:lnTo>
                      <a:pt x="1326488" y="227144"/>
                    </a:lnTo>
                    <a:lnTo>
                      <a:pt x="1292005" y="194695"/>
                    </a:lnTo>
                    <a:lnTo>
                      <a:pt x="1256086" y="164742"/>
                    </a:lnTo>
                    <a:lnTo>
                      <a:pt x="1218844" y="137285"/>
                    </a:lnTo>
                    <a:lnTo>
                      <a:pt x="1180395" y="112324"/>
                    </a:lnTo>
                    <a:lnTo>
                      <a:pt x="1140854" y="89859"/>
                    </a:lnTo>
                    <a:lnTo>
                      <a:pt x="1100335" y="69890"/>
                    </a:lnTo>
                    <a:lnTo>
                      <a:pt x="1058955" y="52418"/>
                    </a:lnTo>
                    <a:lnTo>
                      <a:pt x="1016827" y="37441"/>
                    </a:lnTo>
                    <a:lnTo>
                      <a:pt x="974068" y="24960"/>
                    </a:lnTo>
                    <a:lnTo>
                      <a:pt x="930791" y="14976"/>
                    </a:lnTo>
                    <a:lnTo>
                      <a:pt x="887112" y="7488"/>
                    </a:lnTo>
                    <a:lnTo>
                      <a:pt x="843146" y="2496"/>
                    </a:lnTo>
                    <a:lnTo>
                      <a:pt x="799009" y="0"/>
                    </a:lnTo>
                    <a:close/>
                  </a:path>
                </a:pathLst>
              </a:custGeom>
              <a:solidFill>
                <a:srgbClr val="EF5F8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91" name="Google Shape;91;p8"/>
              <p:cNvSpPr txBox="1"/>
              <p:nvPr/>
            </p:nvSpPr>
            <p:spPr>
              <a:xfrm>
                <a:off x="875154" y="1691081"/>
                <a:ext cx="141795" cy="382156"/>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2400"/>
                  <a:buFont typeface="Arial"/>
                  <a:buNone/>
                </a:pPr>
                <a:r>
                  <a:rPr lang="en-GB" sz="24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grpSp>
      </p:grpSp>
      <p:sp>
        <p:nvSpPr>
          <p:cNvPr id="92" name="Google Shape;92;p8"/>
          <p:cNvSpPr txBox="1">
            <a:spLocks noGrp="1"/>
          </p:cNvSpPr>
          <p:nvPr>
            <p:ph type="body" idx="1"/>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3" name="Google Shape;93;p8"/>
          <p:cNvSpPr txBox="1">
            <a:spLocks noGrp="1"/>
          </p:cNvSpPr>
          <p:nvPr>
            <p:ph type="body" idx="2"/>
          </p:nvPr>
        </p:nvSpPr>
        <p:spPr>
          <a:xfrm>
            <a:off x="1571380" y="196426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4" name="Google Shape;94;p8"/>
          <p:cNvSpPr txBox="1">
            <a:spLocks noGrp="1"/>
          </p:cNvSpPr>
          <p:nvPr>
            <p:ph type="body" idx="3"/>
          </p:nvPr>
        </p:nvSpPr>
        <p:spPr>
          <a:xfrm>
            <a:off x="1571380" y="29466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5" name="Google Shape;95;p8"/>
          <p:cNvSpPr txBox="1">
            <a:spLocks noGrp="1"/>
          </p:cNvSpPr>
          <p:nvPr>
            <p:ph type="body" idx="4"/>
          </p:nvPr>
        </p:nvSpPr>
        <p:spPr>
          <a:xfrm>
            <a:off x="1571380" y="39681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6" name="Google Shape;96;p8"/>
          <p:cNvSpPr txBox="1">
            <a:spLocks noGrp="1"/>
          </p:cNvSpPr>
          <p:nvPr>
            <p:ph type="body" idx="5"/>
          </p:nvPr>
        </p:nvSpPr>
        <p:spPr>
          <a:xfrm>
            <a:off x="1571380" y="4987108"/>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7" name="Google Shape;97;p8"/>
          <p:cNvSpPr txBox="1">
            <a:spLocks noGrp="1"/>
          </p:cNvSpPr>
          <p:nvPr>
            <p:ph type="body" idx="6"/>
          </p:nvPr>
        </p:nvSpPr>
        <p:spPr>
          <a:xfrm>
            <a:off x="8606671" y="196426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8" name="Google Shape;98;p8"/>
          <p:cNvSpPr txBox="1">
            <a:spLocks noGrp="1"/>
          </p:cNvSpPr>
          <p:nvPr>
            <p:ph type="body" idx="7"/>
          </p:nvPr>
        </p:nvSpPr>
        <p:spPr>
          <a:xfrm>
            <a:off x="8634285" y="2946681"/>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9" name="Google Shape;99;p8"/>
          <p:cNvSpPr txBox="1">
            <a:spLocks noGrp="1"/>
          </p:cNvSpPr>
          <p:nvPr>
            <p:ph type="body" idx="8"/>
          </p:nvPr>
        </p:nvSpPr>
        <p:spPr>
          <a:xfrm>
            <a:off x="8606671" y="3970658"/>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0" name="Google Shape;100;p8"/>
          <p:cNvSpPr txBox="1">
            <a:spLocks noGrp="1"/>
          </p:cNvSpPr>
          <p:nvPr>
            <p:ph type="body" idx="9"/>
          </p:nvPr>
        </p:nvSpPr>
        <p:spPr>
          <a:xfrm>
            <a:off x="8606671" y="5011066"/>
            <a:ext cx="193382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rgbClr val="49547C"/>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1" name="Google Shape;101;p8"/>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3F3F3F"/>
                </a:solidFill>
              </a:defRPr>
            </a:lvl1pPr>
            <a:lvl2pPr lvl="1">
              <a:buNone/>
              <a:defRPr>
                <a:solidFill>
                  <a:srgbClr val="3F3F3F"/>
                </a:solidFill>
              </a:defRPr>
            </a:lvl2pPr>
            <a:lvl3pPr lvl="2">
              <a:buNone/>
              <a:defRPr>
                <a:solidFill>
                  <a:srgbClr val="3F3F3F"/>
                </a:solidFill>
              </a:defRPr>
            </a:lvl3pPr>
            <a:lvl4pPr lvl="3">
              <a:buNone/>
              <a:defRPr>
                <a:solidFill>
                  <a:srgbClr val="3F3F3F"/>
                </a:solidFill>
              </a:defRPr>
            </a:lvl4pPr>
            <a:lvl5pPr lvl="4">
              <a:buNone/>
              <a:defRPr>
                <a:solidFill>
                  <a:srgbClr val="3F3F3F"/>
                </a:solidFill>
              </a:defRPr>
            </a:lvl5pPr>
            <a:lvl6pPr lvl="5">
              <a:buNone/>
              <a:defRPr>
                <a:solidFill>
                  <a:srgbClr val="3F3F3F"/>
                </a:solidFill>
              </a:defRPr>
            </a:lvl6pPr>
            <a:lvl7pPr lvl="6">
              <a:buNone/>
              <a:defRPr>
                <a:solidFill>
                  <a:srgbClr val="3F3F3F"/>
                </a:solidFill>
              </a:defRPr>
            </a:lvl7pPr>
            <a:lvl8pPr lvl="7">
              <a:buNone/>
              <a:defRPr>
                <a:solidFill>
                  <a:srgbClr val="3F3F3F"/>
                </a:solidFill>
              </a:defRPr>
            </a:lvl8pPr>
            <a:lvl9pPr lvl="8">
              <a:buNone/>
              <a:defRPr>
                <a:solidFill>
                  <a:srgbClr val="3F3F3F"/>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he comparison Layout">
  <p:cSld name="The comparison Layout">
    <p:spTree>
      <p:nvGrpSpPr>
        <p:cNvPr id="1" name="Shape 102"/>
        <p:cNvGrpSpPr/>
        <p:nvPr/>
      </p:nvGrpSpPr>
      <p:grpSpPr>
        <a:xfrm>
          <a:off x="0" y="0"/>
          <a:ext cx="0" cy="0"/>
          <a:chOff x="0" y="0"/>
          <a:chExt cx="0" cy="0"/>
        </a:xfrm>
      </p:grpSpPr>
      <p:sp>
        <p:nvSpPr>
          <p:cNvPr id="103" name="Google Shape;103;p9"/>
          <p:cNvSpPr/>
          <p:nvPr/>
        </p:nvSpPr>
        <p:spPr>
          <a:xfrm>
            <a:off x="628296" y="1313273"/>
            <a:ext cx="5308037" cy="4554127"/>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4" name="Google Shape;104;p9"/>
          <p:cNvSpPr/>
          <p:nvPr/>
        </p:nvSpPr>
        <p:spPr>
          <a:xfrm>
            <a:off x="6253592" y="1313273"/>
            <a:ext cx="5308037" cy="4554127"/>
          </a:xfrm>
          <a:prstGeom prst="rect">
            <a:avLst/>
          </a:prstGeom>
          <a:solidFill>
            <a:schemeClr val="lt1"/>
          </a:solidFill>
          <a:ln w="9525" cap="flat" cmpd="sng">
            <a:solidFill>
              <a:srgbClr val="BFBFBF"/>
            </a:solidFill>
            <a:prstDash val="solid"/>
            <a:round/>
            <a:headEnd type="none" w="sm" len="sm"/>
            <a:tailEnd type="none" w="sm" len="sm"/>
          </a:ln>
          <a:effectLst>
            <a:outerShdw blurRad="114300" dist="63500" dir="2700000" algn="tl" rotWithShape="0">
              <a:srgbClr val="000000">
                <a:alpha val="745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5" name="Google Shape;105;p9"/>
          <p:cNvSpPr/>
          <p:nvPr/>
        </p:nvSpPr>
        <p:spPr>
          <a:xfrm>
            <a:off x="6253592" y="1313273"/>
            <a:ext cx="5308037" cy="747711"/>
          </a:xfrm>
          <a:prstGeom prst="rect">
            <a:avLst/>
          </a:prstGeom>
          <a:solidFill>
            <a:srgbClr val="F05F87"/>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Open Sans"/>
              <a:ea typeface="Open Sans"/>
              <a:cs typeface="Open Sans"/>
              <a:sym typeface="Open Sans"/>
            </a:endParaRPr>
          </a:p>
        </p:txBody>
      </p:sp>
      <p:sp>
        <p:nvSpPr>
          <p:cNvPr id="106" name="Google Shape;106;p9"/>
          <p:cNvSpPr txBox="1">
            <a:spLocks noGrp="1"/>
          </p:cNvSpPr>
          <p:nvPr>
            <p:ph type="body" idx="1"/>
          </p:nvPr>
        </p:nvSpPr>
        <p:spPr>
          <a:xfrm>
            <a:off x="7543800" y="1478062"/>
            <a:ext cx="2971800" cy="307777"/>
          </a:xfrm>
          <a:prstGeom prst="rect">
            <a:avLst/>
          </a:prstGeom>
          <a:noFill/>
          <a:ln>
            <a:noFill/>
          </a:ln>
        </p:spPr>
        <p:txBody>
          <a:bodyPr spcFirstLastPara="1" wrap="square" lIns="0" tIns="0" rIns="0" bIns="0" anchor="t" anchorCtr="0">
            <a:spAutoFit/>
          </a:bodyPr>
          <a:lstStyle>
            <a:lvl1pPr marL="457200" lvl="0" indent="-228600" algn="ctr">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7" name="Google Shape;107;p9"/>
          <p:cNvSpPr/>
          <p:nvPr/>
        </p:nvSpPr>
        <p:spPr>
          <a:xfrm>
            <a:off x="628296" y="1313273"/>
            <a:ext cx="5308037" cy="747711"/>
          </a:xfrm>
          <a:prstGeom prst="rect">
            <a:avLst/>
          </a:prstGeom>
          <a:solidFill>
            <a:srgbClr val="81C677"/>
          </a:solidFill>
          <a:ln w="9525"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08" name="Google Shape;108;p9"/>
          <p:cNvSpPr txBox="1">
            <a:spLocks noGrp="1"/>
          </p:cNvSpPr>
          <p:nvPr>
            <p:ph type="body" idx="2"/>
          </p:nvPr>
        </p:nvSpPr>
        <p:spPr>
          <a:xfrm>
            <a:off x="2001915" y="1478062"/>
            <a:ext cx="2971800"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a:solidFill>
                  <a:schemeClr val="lt1"/>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9" name="Google Shape;109;p9"/>
          <p:cNvSpPr txBox="1">
            <a:spLocks noGrp="1"/>
          </p:cNvSpPr>
          <p:nvPr>
            <p:ph type="body" idx="3"/>
          </p:nvPr>
        </p:nvSpPr>
        <p:spPr>
          <a:xfrm>
            <a:off x="628649" y="2057400"/>
            <a:ext cx="5307683" cy="38100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sz="1600"/>
            </a:lvl2pPr>
            <a:lvl3pPr marL="1371600" lvl="2" indent="-228600" algn="l">
              <a:lnSpc>
                <a:spcPct val="100000"/>
              </a:lnSpc>
              <a:spcBef>
                <a:spcPts val="0"/>
              </a:spcBef>
              <a:spcAft>
                <a:spcPts val="0"/>
              </a:spcAft>
              <a:buSzPts val="1400"/>
              <a:buNone/>
              <a:defRPr sz="1600"/>
            </a:lvl3pPr>
            <a:lvl4pPr marL="1828800" lvl="3" indent="-228600" algn="l">
              <a:lnSpc>
                <a:spcPct val="100000"/>
              </a:lnSpc>
              <a:spcBef>
                <a:spcPts val="0"/>
              </a:spcBef>
              <a:spcAft>
                <a:spcPts val="0"/>
              </a:spcAft>
              <a:buSzPts val="1400"/>
              <a:buNone/>
              <a:defRPr sz="1600"/>
            </a:lvl4pPr>
            <a:lvl5pPr marL="2286000" lvl="4" indent="-228600" algn="l">
              <a:lnSpc>
                <a:spcPct val="100000"/>
              </a:lnSpc>
              <a:spcBef>
                <a:spcPts val="0"/>
              </a:spcBef>
              <a:spcAft>
                <a:spcPts val="0"/>
              </a:spcAft>
              <a:buSzPts val="1400"/>
              <a:buNone/>
              <a:defRPr sz="1600"/>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0" name="Google Shape;110;p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 name="Google Shape;111;p9"/>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12" name="Google Shape;112;p9"/>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sp>
        <p:nvSpPr>
          <p:cNvPr id="113" name="Google Shape;113;p9"/>
          <p:cNvSpPr>
            <a:spLocks noGrp="1"/>
          </p:cNvSpPr>
          <p:nvPr>
            <p:ph type="pic" idx="4"/>
          </p:nvPr>
        </p:nvSpPr>
        <p:spPr>
          <a:xfrm>
            <a:off x="6253592" y="2057400"/>
            <a:ext cx="5317136" cy="3810000"/>
          </a:xfrm>
          <a:prstGeom prst="rect">
            <a:avLst/>
          </a:prstGeom>
          <a:noFill/>
          <a:ln>
            <a:noFill/>
          </a:ln>
        </p:spPr>
      </p:sp>
      <p:sp>
        <p:nvSpPr>
          <p:cNvPr id="114" name="Google Shape;114;p9"/>
          <p:cNvSpPr/>
          <p:nvPr/>
        </p:nvSpPr>
        <p:spPr>
          <a:xfrm>
            <a:off x="767714" y="2173268"/>
            <a:ext cx="5029200" cy="325345"/>
          </a:xfrm>
          <a:prstGeom prst="rect">
            <a:avLst/>
          </a:prstGeom>
          <a:noFill/>
          <a:ln>
            <a:noFill/>
          </a:ln>
        </p:spPr>
        <p:txBody>
          <a:bodyPr spcFirstLastPara="1" wrap="square" lIns="91425" tIns="45700" rIns="91425" bIns="45700" anchor="t" anchorCtr="0">
            <a:noAutofit/>
          </a:bodyPr>
          <a:lstStyle/>
          <a:p>
            <a:pPr marL="0" marR="165963" lvl="0" indent="0" algn="l" rtl="0">
              <a:lnSpc>
                <a:spcPct val="101099"/>
              </a:lnSpc>
              <a:spcBef>
                <a:spcPts val="0"/>
              </a:spcBef>
              <a:spcAft>
                <a:spcPts val="0"/>
              </a:spcAft>
              <a:buClr>
                <a:srgbClr val="000000"/>
              </a:buClr>
              <a:buSzPts val="1600"/>
              <a:buFont typeface="Arial"/>
              <a:buNone/>
            </a:pPr>
            <a:endParaRPr sz="1600" b="0" i="0" u="none" strike="noStrike" cap="none">
              <a:solidFill>
                <a:schemeClr val="dk1"/>
              </a:solidFill>
              <a:latin typeface="Open Sans"/>
              <a:ea typeface="Open Sans"/>
              <a:cs typeface="Open Sans"/>
              <a:sym typeface="Open Sans"/>
            </a:endParaRPr>
          </a:p>
        </p:txBody>
      </p:sp>
      <p:sp>
        <p:nvSpPr>
          <p:cNvPr id="115" name="Google Shape;115;p9"/>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pic>
        <p:nvPicPr>
          <p:cNvPr id="116" name="Google Shape;116;p9"/>
          <p:cNvPicPr preferRelativeResize="0"/>
          <p:nvPr/>
        </p:nvPicPr>
        <p:blipFill rotWithShape="1">
          <a:blip r:embed="rId2">
            <a:alphaModFix/>
          </a:blip>
          <a:srcRect l="36235" t="56193" r="28551" b="28755"/>
          <a:stretch/>
        </p:blipFill>
        <p:spPr>
          <a:xfrm>
            <a:off x="628296" y="1309893"/>
            <a:ext cx="1916544" cy="902775"/>
          </a:xfrm>
          <a:prstGeom prst="rect">
            <a:avLst/>
          </a:prstGeom>
          <a:noFill/>
          <a:ln>
            <a:noFill/>
          </a:ln>
        </p:spPr>
      </p:pic>
      <p:pic>
        <p:nvPicPr>
          <p:cNvPr id="117" name="Google Shape;117;p9"/>
          <p:cNvPicPr preferRelativeResize="0"/>
          <p:nvPr/>
        </p:nvPicPr>
        <p:blipFill rotWithShape="1">
          <a:blip r:embed="rId2">
            <a:alphaModFix/>
          </a:blip>
          <a:srcRect l="36235" t="56193" r="28551" b="28755"/>
          <a:stretch/>
        </p:blipFill>
        <p:spPr>
          <a:xfrm>
            <a:off x="6182655" y="1396006"/>
            <a:ext cx="1916544" cy="902775"/>
          </a:xfrm>
          <a:prstGeom prst="rect">
            <a:avLst/>
          </a:prstGeom>
          <a:noFill/>
          <a:ln>
            <a:noFill/>
          </a:ln>
        </p:spPr>
      </p:pic>
      <p:sp>
        <p:nvSpPr>
          <p:cNvPr id="118" name="Google Shape;118;p9"/>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Layout with Pointers">
  <p:cSld name="Layout with Pointers">
    <p:spTree>
      <p:nvGrpSpPr>
        <p:cNvPr id="1" name="Shape 119"/>
        <p:cNvGrpSpPr/>
        <p:nvPr/>
      </p:nvGrpSpPr>
      <p:grpSpPr>
        <a:xfrm>
          <a:off x="0" y="0"/>
          <a:ext cx="0" cy="0"/>
          <a:chOff x="0" y="0"/>
          <a:chExt cx="0" cy="0"/>
        </a:xfrm>
      </p:grpSpPr>
      <p:sp>
        <p:nvSpPr>
          <p:cNvPr id="120" name="Google Shape;120;p10"/>
          <p:cNvSpPr txBox="1">
            <a:spLocks noGrp="1"/>
          </p:cNvSpPr>
          <p:nvPr>
            <p:ph type="body" idx="1"/>
          </p:nvPr>
        </p:nvSpPr>
        <p:spPr>
          <a:xfrm>
            <a:off x="1151577" y="1958014"/>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1" name="Google Shape;121;p10"/>
          <p:cNvSpPr txBox="1">
            <a:spLocks noGrp="1"/>
          </p:cNvSpPr>
          <p:nvPr>
            <p:ph type="body" idx="2"/>
          </p:nvPr>
        </p:nvSpPr>
        <p:spPr>
          <a:xfrm>
            <a:off x="1151577" y="3451590"/>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2" name="Google Shape;122;p10"/>
          <p:cNvSpPr txBox="1">
            <a:spLocks noGrp="1"/>
          </p:cNvSpPr>
          <p:nvPr>
            <p:ph type="body" idx="3"/>
          </p:nvPr>
        </p:nvSpPr>
        <p:spPr>
          <a:xfrm>
            <a:off x="1143000" y="5029200"/>
            <a:ext cx="407987"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solidFill>
                  <a:srgbClr val="4F81BD"/>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3" name="Google Shape;123;p10"/>
          <p:cNvSpPr txBox="1">
            <a:spLocks noGrp="1"/>
          </p:cNvSpPr>
          <p:nvPr>
            <p:ph type="body" idx="4"/>
          </p:nvPr>
        </p:nvSpPr>
        <p:spPr>
          <a:xfrm>
            <a:off x="2068513" y="3124200"/>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24" name="Google Shape;124;p10"/>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 name="Google Shape;125;p10"/>
          <p:cNvSpPr txBox="1"/>
          <p:nvPr/>
        </p:nvSpPr>
        <p:spPr>
          <a:xfrm>
            <a:off x="2139060" y="4731975"/>
            <a:ext cx="162740"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1</a:t>
            </a:r>
            <a:endParaRPr sz="1600" b="0" i="0" u="none" strike="noStrike" cap="none">
              <a:solidFill>
                <a:schemeClr val="dk1"/>
              </a:solidFill>
              <a:latin typeface="Arial"/>
              <a:ea typeface="Arial"/>
              <a:cs typeface="Arial"/>
              <a:sym typeface="Arial"/>
            </a:endParaRPr>
          </a:p>
        </p:txBody>
      </p:sp>
      <p:sp>
        <p:nvSpPr>
          <p:cNvPr id="126" name="Google Shape;126;p10"/>
          <p:cNvSpPr txBox="1"/>
          <p:nvPr/>
        </p:nvSpPr>
        <p:spPr>
          <a:xfrm>
            <a:off x="9865407" y="4731975"/>
            <a:ext cx="156105" cy="25904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1600"/>
              <a:buFont typeface="Arial"/>
              <a:buNone/>
            </a:pPr>
            <a:r>
              <a:rPr lang="en-GB" sz="1600" b="0" i="0" u="none" strike="noStrike" cap="none">
                <a:solidFill>
                  <a:srgbClr val="FFFFFF"/>
                </a:solidFill>
                <a:latin typeface="Arial"/>
                <a:ea typeface="Arial"/>
                <a:cs typeface="Arial"/>
                <a:sym typeface="Arial"/>
              </a:rPr>
              <a:t>4</a:t>
            </a:r>
            <a:endParaRPr sz="1600" b="0" i="0" u="none" strike="noStrike" cap="none">
              <a:solidFill>
                <a:schemeClr val="dk1"/>
              </a:solidFill>
              <a:latin typeface="Arial"/>
              <a:ea typeface="Arial"/>
              <a:cs typeface="Arial"/>
              <a:sym typeface="Arial"/>
            </a:endParaRPr>
          </a:p>
        </p:txBody>
      </p:sp>
      <p:grpSp>
        <p:nvGrpSpPr>
          <p:cNvPr id="127" name="Google Shape;127;p10"/>
          <p:cNvGrpSpPr/>
          <p:nvPr/>
        </p:nvGrpSpPr>
        <p:grpSpPr>
          <a:xfrm>
            <a:off x="1529380" y="1972267"/>
            <a:ext cx="267843" cy="267843"/>
            <a:chOff x="5127585" y="2129742"/>
            <a:chExt cx="324090" cy="324090"/>
          </a:xfrm>
        </p:grpSpPr>
        <p:sp>
          <p:nvSpPr>
            <p:cNvPr id="128" name="Google Shape;128;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29" name="Google Shape;129;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grpSp>
        <p:nvGrpSpPr>
          <p:cNvPr id="130" name="Google Shape;130;p10"/>
          <p:cNvGrpSpPr/>
          <p:nvPr/>
        </p:nvGrpSpPr>
        <p:grpSpPr>
          <a:xfrm>
            <a:off x="1529380" y="3444201"/>
            <a:ext cx="267843" cy="267843"/>
            <a:chOff x="5127585" y="2129742"/>
            <a:chExt cx="324090" cy="324090"/>
          </a:xfrm>
        </p:grpSpPr>
        <p:sp>
          <p:nvSpPr>
            <p:cNvPr id="131" name="Google Shape;131;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32" name="Google Shape;132;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grpSp>
        <p:nvGrpSpPr>
          <p:cNvPr id="133" name="Google Shape;133;p10"/>
          <p:cNvGrpSpPr/>
          <p:nvPr/>
        </p:nvGrpSpPr>
        <p:grpSpPr>
          <a:xfrm>
            <a:off x="1529380" y="5046207"/>
            <a:ext cx="267843" cy="267843"/>
            <a:chOff x="5127585" y="2129742"/>
            <a:chExt cx="324090" cy="324090"/>
          </a:xfrm>
        </p:grpSpPr>
        <p:sp>
          <p:nvSpPr>
            <p:cNvPr id="134" name="Google Shape;134;p10"/>
            <p:cNvSpPr/>
            <p:nvPr/>
          </p:nvSpPr>
          <p:spPr>
            <a:xfrm>
              <a:off x="5127585" y="2129742"/>
              <a:ext cx="324090" cy="324090"/>
            </a:xfrm>
            <a:prstGeom prst="ellipse">
              <a:avLst/>
            </a:prstGeom>
            <a:solidFill>
              <a:srgbClr val="ED6D9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sp>
          <p:nvSpPr>
            <p:cNvPr id="135" name="Google Shape;135;p10"/>
            <p:cNvSpPr/>
            <p:nvPr/>
          </p:nvSpPr>
          <p:spPr>
            <a:xfrm>
              <a:off x="5209057" y="2211214"/>
              <a:ext cx="161146" cy="161146"/>
            </a:xfrm>
            <a:prstGeom prst="ellipse">
              <a:avLst/>
            </a:prstGeom>
            <a:solidFill>
              <a:schemeClr val="lt1"/>
            </a:solidFill>
            <a:ln w="34925"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Open Sans"/>
                <a:ea typeface="Open Sans"/>
                <a:cs typeface="Open Sans"/>
                <a:sym typeface="Open Sans"/>
              </a:endParaRPr>
            </a:p>
          </p:txBody>
        </p:sp>
      </p:grpSp>
      <p:sp>
        <p:nvSpPr>
          <p:cNvPr id="136" name="Google Shape;136;p10"/>
          <p:cNvSpPr txBox="1">
            <a:spLocks noGrp="1"/>
          </p:cNvSpPr>
          <p:nvPr>
            <p:ph type="body" idx="5"/>
          </p:nvPr>
        </p:nvSpPr>
        <p:spPr>
          <a:xfrm>
            <a:off x="609600" y="457201"/>
            <a:ext cx="10926763" cy="307777"/>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2000" b="1">
                <a:solidFill>
                  <a:srgbClr val="3F3F3F"/>
                </a:solidFill>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7" name="Google Shape;137;p10"/>
          <p:cNvSpPr txBox="1">
            <a:spLocks noGrp="1"/>
          </p:cNvSpPr>
          <p:nvPr>
            <p:ph type="body" idx="6"/>
          </p:nvPr>
        </p:nvSpPr>
        <p:spPr>
          <a:xfrm>
            <a:off x="2073593" y="4745389"/>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8" name="Google Shape;138;p10"/>
          <p:cNvSpPr txBox="1">
            <a:spLocks noGrp="1"/>
          </p:cNvSpPr>
          <p:nvPr>
            <p:ph type="body" idx="7"/>
          </p:nvPr>
        </p:nvSpPr>
        <p:spPr>
          <a:xfrm>
            <a:off x="2077261" y="1665568"/>
            <a:ext cx="7380287" cy="1066800"/>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600"/>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9" name="Google Shape;139;p10"/>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solidFill>
                  <a:srgbClr val="4F81BD"/>
                </a:solidFill>
              </a:defRPr>
            </a:lvl1pPr>
            <a:lvl2pPr lvl="1">
              <a:buNone/>
              <a:defRPr>
                <a:solidFill>
                  <a:srgbClr val="4F81BD"/>
                </a:solidFill>
              </a:defRPr>
            </a:lvl2pPr>
            <a:lvl3pPr lvl="2">
              <a:buNone/>
              <a:defRPr>
                <a:solidFill>
                  <a:srgbClr val="4F81BD"/>
                </a:solidFill>
              </a:defRPr>
            </a:lvl3pPr>
            <a:lvl4pPr lvl="3">
              <a:buNone/>
              <a:defRPr>
                <a:solidFill>
                  <a:srgbClr val="4F81BD"/>
                </a:solidFill>
              </a:defRPr>
            </a:lvl4pPr>
            <a:lvl5pPr lvl="4">
              <a:buNone/>
              <a:defRPr>
                <a:solidFill>
                  <a:srgbClr val="4F81BD"/>
                </a:solidFill>
              </a:defRPr>
            </a:lvl5pPr>
            <a:lvl6pPr lvl="5">
              <a:buNone/>
              <a:defRPr>
                <a:solidFill>
                  <a:srgbClr val="4F81BD"/>
                </a:solidFill>
              </a:defRPr>
            </a:lvl6pPr>
            <a:lvl7pPr lvl="6">
              <a:buNone/>
              <a:defRPr>
                <a:solidFill>
                  <a:srgbClr val="4F81BD"/>
                </a:solidFill>
              </a:defRPr>
            </a:lvl7pPr>
            <a:lvl8pPr lvl="7">
              <a:buNone/>
              <a:defRPr>
                <a:solidFill>
                  <a:srgbClr val="4F81BD"/>
                </a:solidFill>
              </a:defRPr>
            </a:lvl8pPr>
            <a:lvl9pPr lvl="8">
              <a:buNone/>
              <a:defRPr>
                <a:solidFill>
                  <a:srgbClr val="4F81BD"/>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15">
            <a:alphaModFix/>
          </a:blip>
          <a:srcRect/>
          <a:stretch/>
        </p:blipFill>
        <p:spPr>
          <a:xfrm>
            <a:off x="10058400" y="465180"/>
            <a:ext cx="1512263" cy="373020"/>
          </a:xfrm>
          <a:prstGeom prst="rect">
            <a:avLst/>
          </a:prstGeom>
          <a:noFill/>
          <a:ln>
            <a:noFill/>
          </a:ln>
        </p:spPr>
      </p:pic>
      <p:sp>
        <p:nvSpPr>
          <p:cNvPr id="11" name="Google Shape;11;p1"/>
          <p:cNvSpPr/>
          <p:nvPr/>
        </p:nvSpPr>
        <p:spPr>
          <a:xfrm>
            <a:off x="0" y="0"/>
            <a:ext cx="12192000" cy="6858000"/>
          </a:xfrm>
          <a:custGeom>
            <a:avLst/>
            <a:gdLst/>
            <a:ahLst/>
            <a:cxnLst/>
            <a:rect l="l" t="t" r="r" b="b"/>
            <a:pathLst>
              <a:path w="12192000" h="6858000" extrusionOk="0">
                <a:moveTo>
                  <a:pt x="0" y="6858000"/>
                </a:moveTo>
                <a:lnTo>
                  <a:pt x="12192000" y="6858000"/>
                </a:lnTo>
                <a:lnTo>
                  <a:pt x="12192000" y="0"/>
                </a:lnTo>
                <a:lnTo>
                  <a:pt x="0" y="0"/>
                </a:lnTo>
                <a:lnTo>
                  <a:pt x="0" y="6858000"/>
                </a:lnTo>
                <a:close/>
              </a:path>
            </a:pathLst>
          </a:cu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2" name="Google Shape;12;p1"/>
          <p:cNvSpPr txBox="1">
            <a:spLocks noGrp="1"/>
          </p:cNvSpPr>
          <p:nvPr>
            <p:ph type="body" idx="1"/>
          </p:nvPr>
        </p:nvSpPr>
        <p:spPr>
          <a:xfrm>
            <a:off x="999845" y="1449704"/>
            <a:ext cx="10192308" cy="246221"/>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Open Sans"/>
                <a:ea typeface="Open Sans"/>
                <a:cs typeface="Open Sans"/>
                <a:sym typeface="Open Sans"/>
              </a:defRPr>
            </a:lvl9pPr>
          </a:lstStyle>
          <a:p>
            <a:endParaRPr/>
          </a:p>
        </p:txBody>
      </p:sp>
      <p:sp>
        <p:nvSpPr>
          <p:cNvPr id="13" name="Google Shape;13;p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Open Sans"/>
                <a:ea typeface="Open Sans"/>
                <a:cs typeface="Open Sans"/>
                <a:sym typeface="Open Sans"/>
              </a:defRPr>
            </a:lvl9pPr>
          </a:lstStyle>
          <a:p>
            <a:endParaRPr/>
          </a:p>
        </p:txBody>
      </p:sp>
      <p:grpSp>
        <p:nvGrpSpPr>
          <p:cNvPr id="14" name="Google Shape;14;p1"/>
          <p:cNvGrpSpPr/>
          <p:nvPr/>
        </p:nvGrpSpPr>
        <p:grpSpPr>
          <a:xfrm>
            <a:off x="286603" y="914400"/>
            <a:ext cx="11278479" cy="95534"/>
            <a:chOff x="654627" y="1143000"/>
            <a:chExt cx="10910455" cy="0"/>
          </a:xfrm>
        </p:grpSpPr>
        <p:cxnSp>
          <p:nvCxnSpPr>
            <p:cNvPr id="15" name="Google Shape;15;p1"/>
            <p:cNvCxnSpPr/>
            <p:nvPr/>
          </p:nvCxnSpPr>
          <p:spPr>
            <a:xfrm>
              <a:off x="654627" y="1143000"/>
              <a:ext cx="4883728" cy="0"/>
            </a:xfrm>
            <a:prstGeom prst="straightConnector1">
              <a:avLst/>
            </a:prstGeom>
            <a:noFill/>
            <a:ln w="12700" cap="flat" cmpd="sng">
              <a:solidFill>
                <a:schemeClr val="accent1"/>
              </a:solidFill>
              <a:prstDash val="solid"/>
              <a:miter lim="800000"/>
              <a:headEnd type="none" w="sm" len="sm"/>
              <a:tailEnd type="none" w="sm" len="sm"/>
            </a:ln>
          </p:spPr>
        </p:cxnSp>
        <p:cxnSp>
          <p:nvCxnSpPr>
            <p:cNvPr id="16" name="Google Shape;16;p1"/>
            <p:cNvCxnSpPr/>
            <p:nvPr/>
          </p:nvCxnSpPr>
          <p:spPr>
            <a:xfrm>
              <a:off x="4842164" y="1143000"/>
              <a:ext cx="3512128" cy="0"/>
            </a:xfrm>
            <a:prstGeom prst="straightConnector1">
              <a:avLst/>
            </a:prstGeom>
            <a:noFill/>
            <a:ln w="12700" cap="flat" cmpd="sng">
              <a:solidFill>
                <a:schemeClr val="accent3"/>
              </a:solidFill>
              <a:prstDash val="solid"/>
              <a:miter lim="800000"/>
              <a:headEnd type="none" w="sm" len="sm"/>
              <a:tailEnd type="none" w="sm" len="sm"/>
            </a:ln>
          </p:spPr>
        </p:cxnSp>
        <p:cxnSp>
          <p:nvCxnSpPr>
            <p:cNvPr id="17" name="Google Shape;17;p1"/>
            <p:cNvCxnSpPr/>
            <p:nvPr/>
          </p:nvCxnSpPr>
          <p:spPr>
            <a:xfrm>
              <a:off x="7990609" y="1143000"/>
              <a:ext cx="3574473" cy="0"/>
            </a:xfrm>
            <a:prstGeom prst="straightConnector1">
              <a:avLst/>
            </a:prstGeom>
            <a:noFill/>
            <a:ln w="12700" cap="flat" cmpd="sng">
              <a:solidFill>
                <a:schemeClr val="accent2"/>
              </a:solidFill>
              <a:prstDash val="solid"/>
              <a:miter lim="800000"/>
              <a:headEnd type="none" w="sm" len="sm"/>
              <a:tailEnd type="none" w="sm" len="sm"/>
            </a:ln>
          </p:spPr>
        </p:cxnSp>
      </p:grpSp>
      <p:sp>
        <p:nvSpPr>
          <p:cNvPr id="18" name="Google Shape;18;p1"/>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lvl="0" algn="r">
              <a:buNone/>
              <a:defRPr sz="1300">
                <a:solidFill>
                  <a:schemeClr val="dk1"/>
                </a:solidFill>
              </a:defRPr>
            </a:lvl1pPr>
            <a:lvl2pPr lvl="1" algn="r">
              <a:buNone/>
              <a:defRPr sz="1300">
                <a:solidFill>
                  <a:schemeClr val="dk1"/>
                </a:solidFill>
              </a:defRPr>
            </a:lvl2pPr>
            <a:lvl3pPr lvl="2" algn="r">
              <a:buNone/>
              <a:defRPr sz="1300">
                <a:solidFill>
                  <a:schemeClr val="dk1"/>
                </a:solidFill>
              </a:defRPr>
            </a:lvl3pPr>
            <a:lvl4pPr lvl="3" algn="r">
              <a:buNone/>
              <a:defRPr sz="1300">
                <a:solidFill>
                  <a:schemeClr val="dk1"/>
                </a:solidFill>
              </a:defRPr>
            </a:lvl4pPr>
            <a:lvl5pPr lvl="4" algn="r">
              <a:buNone/>
              <a:defRPr sz="1300">
                <a:solidFill>
                  <a:schemeClr val="dk1"/>
                </a:solidFill>
              </a:defRPr>
            </a:lvl5pPr>
            <a:lvl6pPr lvl="5" algn="r">
              <a:buNone/>
              <a:defRPr sz="1300">
                <a:solidFill>
                  <a:schemeClr val="dk1"/>
                </a:solidFill>
              </a:defRPr>
            </a:lvl6pPr>
            <a:lvl7pPr lvl="6" algn="r">
              <a:buNone/>
              <a:defRPr sz="1300">
                <a:solidFill>
                  <a:schemeClr val="dk1"/>
                </a:solidFill>
              </a:defRPr>
            </a:lvl7pPr>
            <a:lvl8pPr lvl="7" algn="r">
              <a:buNone/>
              <a:defRPr sz="1300">
                <a:solidFill>
                  <a:schemeClr val="dk1"/>
                </a:solidFill>
              </a:defRPr>
            </a:lvl8pPr>
            <a:lvl9pPr lvl="8" algn="r">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sp>
        <p:nvSpPr>
          <p:cNvPr id="188" name="Google Shape;188;p15"/>
          <p:cNvSpPr txBox="1"/>
          <p:nvPr/>
        </p:nvSpPr>
        <p:spPr>
          <a:xfrm>
            <a:off x="11483975" y="455197"/>
            <a:ext cx="88900" cy="183515"/>
          </a:xfrm>
          <a:prstGeom prst="rect">
            <a:avLst/>
          </a:prstGeom>
          <a:noFill/>
          <a:ln>
            <a:noFill/>
          </a:ln>
        </p:spPr>
        <p:txBody>
          <a:bodyPr spcFirstLastPara="1" wrap="square" lIns="0" tIns="0" rIns="0" bIns="0" anchor="t" anchorCtr="0">
            <a:spAutoFit/>
          </a:bodyPr>
          <a:lstStyle/>
          <a:p>
            <a:pPr marL="0" marR="0" lvl="0" indent="0" algn="l" rtl="0">
              <a:lnSpc>
                <a:spcPct val="118750"/>
              </a:lnSpc>
              <a:spcBef>
                <a:spcPts val="0"/>
              </a:spcBef>
              <a:spcAft>
                <a:spcPts val="0"/>
              </a:spcAft>
              <a:buClr>
                <a:srgbClr val="000000"/>
              </a:buClr>
              <a:buSzPts val="1200"/>
              <a:buFont typeface="Arial"/>
              <a:buNone/>
            </a:pPr>
            <a:r>
              <a:rPr lang="en-GB" sz="1200" b="0" i="0" u="none" strike="noStrike" cap="none">
                <a:solidFill>
                  <a:srgbClr val="F8F7FF"/>
                </a:solidFill>
                <a:latin typeface="Verdana"/>
                <a:ea typeface="Verdana"/>
                <a:cs typeface="Verdana"/>
                <a:sym typeface="Verdana"/>
              </a:rPr>
              <a:t>1</a:t>
            </a:r>
            <a:endParaRPr sz="1200" b="0" i="0" u="none" strike="noStrike" cap="none">
              <a:solidFill>
                <a:schemeClr val="dk1"/>
              </a:solidFill>
              <a:latin typeface="Verdana"/>
              <a:ea typeface="Verdana"/>
              <a:cs typeface="Verdana"/>
              <a:sym typeface="Verdana"/>
            </a:endParaRPr>
          </a:p>
        </p:txBody>
      </p:sp>
      <p:sp>
        <p:nvSpPr>
          <p:cNvPr id="189" name="Google Shape;189;p15"/>
          <p:cNvSpPr/>
          <p:nvPr/>
        </p:nvSpPr>
        <p:spPr>
          <a:xfrm>
            <a:off x="11356847" y="374904"/>
            <a:ext cx="344805" cy="344805"/>
          </a:xfrm>
          <a:custGeom>
            <a:avLst/>
            <a:gdLst/>
            <a:ahLst/>
            <a:cxnLst/>
            <a:rect l="l" t="t" r="r" b="b"/>
            <a:pathLst>
              <a:path w="344804" h="344805" extrusionOk="0">
                <a:moveTo>
                  <a:pt x="0" y="172212"/>
                </a:moveTo>
                <a:lnTo>
                  <a:pt x="6150" y="126426"/>
                </a:lnTo>
                <a:lnTo>
                  <a:pt x="23509" y="85287"/>
                </a:lnTo>
                <a:lnTo>
                  <a:pt x="50434" y="50434"/>
                </a:lnTo>
                <a:lnTo>
                  <a:pt x="85287" y="23509"/>
                </a:lnTo>
                <a:lnTo>
                  <a:pt x="126426" y="6150"/>
                </a:lnTo>
                <a:lnTo>
                  <a:pt x="172211" y="0"/>
                </a:lnTo>
                <a:lnTo>
                  <a:pt x="217997" y="6150"/>
                </a:lnTo>
                <a:lnTo>
                  <a:pt x="259136" y="23509"/>
                </a:lnTo>
                <a:lnTo>
                  <a:pt x="293989" y="50434"/>
                </a:lnTo>
                <a:lnTo>
                  <a:pt x="320914" y="85287"/>
                </a:lnTo>
                <a:lnTo>
                  <a:pt x="338273" y="126426"/>
                </a:lnTo>
                <a:lnTo>
                  <a:pt x="344424" y="172212"/>
                </a:lnTo>
                <a:lnTo>
                  <a:pt x="338273" y="217997"/>
                </a:lnTo>
                <a:lnTo>
                  <a:pt x="320914" y="259136"/>
                </a:lnTo>
                <a:lnTo>
                  <a:pt x="293989" y="293989"/>
                </a:lnTo>
                <a:lnTo>
                  <a:pt x="259136" y="320914"/>
                </a:lnTo>
                <a:lnTo>
                  <a:pt x="217997" y="338273"/>
                </a:lnTo>
                <a:lnTo>
                  <a:pt x="172211" y="344424"/>
                </a:lnTo>
                <a:lnTo>
                  <a:pt x="126426" y="338273"/>
                </a:lnTo>
                <a:lnTo>
                  <a:pt x="85287" y="320914"/>
                </a:lnTo>
                <a:lnTo>
                  <a:pt x="50434" y="293989"/>
                </a:lnTo>
                <a:lnTo>
                  <a:pt x="23509" y="259136"/>
                </a:lnTo>
                <a:lnTo>
                  <a:pt x="6150" y="217997"/>
                </a:lnTo>
                <a:lnTo>
                  <a:pt x="0" y="172212"/>
                </a:lnTo>
                <a:close/>
              </a:path>
            </a:pathLst>
          </a:custGeom>
          <a:noFill/>
          <a:ln w="12175" cap="flat" cmpd="sng">
            <a:solidFill>
              <a:srgbClr val="F8F7FF"/>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90" name="Google Shape;190;p15"/>
          <p:cNvSpPr txBox="1"/>
          <p:nvPr/>
        </p:nvSpPr>
        <p:spPr>
          <a:xfrm>
            <a:off x="445099" y="4804602"/>
            <a:ext cx="5762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GB" sz="2400" b="1" i="0" u="none" strike="noStrike" cap="none" dirty="0">
                <a:solidFill>
                  <a:schemeClr val="tx1"/>
                </a:solidFill>
              </a:rPr>
              <a:t>Presented by:</a:t>
            </a:r>
            <a:br>
              <a:rPr lang="en-GB" sz="2400" b="1" i="0" u="none" strike="noStrike" cap="none" dirty="0">
                <a:solidFill>
                  <a:schemeClr val="tx1"/>
                </a:solidFill>
              </a:rPr>
            </a:br>
            <a:r>
              <a:rPr lang="en-GB" sz="2400" b="1" dirty="0">
                <a:solidFill>
                  <a:schemeClr val="tx1"/>
                </a:solidFill>
              </a:rPr>
              <a:t>Data Team</a:t>
            </a:r>
            <a:endParaRPr sz="2400" b="1" i="0" u="none" strike="noStrike" cap="none" dirty="0">
              <a:solidFill>
                <a:schemeClr val="tx1"/>
              </a:solidFill>
            </a:endParaRPr>
          </a:p>
        </p:txBody>
      </p:sp>
      <p:pic>
        <p:nvPicPr>
          <p:cNvPr id="191" name="Google Shape;191;p15"/>
          <p:cNvPicPr preferRelativeResize="0"/>
          <p:nvPr/>
        </p:nvPicPr>
        <p:blipFill rotWithShape="1">
          <a:blip r:embed="rId3">
            <a:alphaModFix/>
          </a:blip>
          <a:srcRect/>
          <a:stretch/>
        </p:blipFill>
        <p:spPr>
          <a:xfrm>
            <a:off x="6644779" y="859468"/>
            <a:ext cx="5178033" cy="5613395"/>
          </a:xfrm>
          <a:prstGeom prst="rect">
            <a:avLst/>
          </a:prstGeom>
          <a:noFill/>
          <a:ln>
            <a:noFill/>
          </a:ln>
        </p:spPr>
      </p:pic>
      <p:sp>
        <p:nvSpPr>
          <p:cNvPr id="192" name="Google Shape;192;p15"/>
          <p:cNvSpPr/>
          <p:nvPr/>
        </p:nvSpPr>
        <p:spPr>
          <a:xfrm>
            <a:off x="0" y="5785339"/>
            <a:ext cx="541585" cy="1072661"/>
          </a:xfrm>
          <a:custGeom>
            <a:avLst/>
            <a:gdLst/>
            <a:ahLst/>
            <a:cxnLst/>
            <a:rect l="l" t="t" r="r" b="b"/>
            <a:pathLst>
              <a:path w="662" h="1311" extrusionOk="0">
                <a:moveTo>
                  <a:pt x="0" y="0"/>
                </a:moveTo>
                <a:cubicBezTo>
                  <a:pt x="0" y="1311"/>
                  <a:pt x="0" y="1311"/>
                  <a:pt x="0" y="1311"/>
                </a:cubicBezTo>
                <a:cubicBezTo>
                  <a:pt x="366" y="1311"/>
                  <a:pt x="662" y="1017"/>
                  <a:pt x="662" y="655"/>
                </a:cubicBezTo>
                <a:cubicBezTo>
                  <a:pt x="662" y="293"/>
                  <a:pt x="366" y="0"/>
                  <a:pt x="0" y="0"/>
                </a:cubicBezTo>
                <a:close/>
              </a:path>
            </a:pathLst>
          </a:custGeom>
          <a:solidFill>
            <a:srgbClr val="F5BC18"/>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chemeClr val="dk1"/>
              </a:solidFill>
              <a:latin typeface="Calibri"/>
              <a:ea typeface="Calibri"/>
              <a:cs typeface="Calibri"/>
              <a:sym typeface="Calibri"/>
            </a:endParaRPr>
          </a:p>
        </p:txBody>
      </p:sp>
      <p:sp>
        <p:nvSpPr>
          <p:cNvPr id="193" name="Google Shape;193;p15"/>
          <p:cNvSpPr/>
          <p:nvPr/>
        </p:nvSpPr>
        <p:spPr>
          <a:xfrm>
            <a:off x="10881911" y="-152400"/>
            <a:ext cx="1310089" cy="648901"/>
          </a:xfrm>
          <a:custGeom>
            <a:avLst/>
            <a:gdLst/>
            <a:ahLst/>
            <a:cxnLst/>
            <a:rect l="l" t="t" r="r" b="b"/>
            <a:pathLst>
              <a:path w="1245" h="616" extrusionOk="0">
                <a:moveTo>
                  <a:pt x="622" y="616"/>
                </a:moveTo>
                <a:cubicBezTo>
                  <a:pt x="966" y="616"/>
                  <a:pt x="1245" y="340"/>
                  <a:pt x="1245" y="0"/>
                </a:cubicBezTo>
                <a:cubicBezTo>
                  <a:pt x="0" y="0"/>
                  <a:pt x="0" y="0"/>
                  <a:pt x="0" y="0"/>
                </a:cubicBezTo>
                <a:cubicBezTo>
                  <a:pt x="0" y="340"/>
                  <a:pt x="279" y="616"/>
                  <a:pt x="622" y="616"/>
                </a:cubicBezTo>
                <a:close/>
              </a:path>
            </a:pathLst>
          </a:custGeom>
          <a:solidFill>
            <a:srgbClr val="F05583"/>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Open Sans"/>
              <a:buNone/>
            </a:pPr>
            <a:endParaRPr sz="1400" b="0" i="0" u="none" strike="noStrike" cap="none">
              <a:solidFill>
                <a:schemeClr val="dk1"/>
              </a:solidFill>
              <a:latin typeface="Calibri"/>
              <a:ea typeface="Calibri"/>
              <a:cs typeface="Calibri"/>
              <a:sym typeface="Calibri"/>
            </a:endParaRPr>
          </a:p>
        </p:txBody>
      </p:sp>
      <p:pic>
        <p:nvPicPr>
          <p:cNvPr id="194" name="Google Shape;194;p15"/>
          <p:cNvPicPr preferRelativeResize="0"/>
          <p:nvPr/>
        </p:nvPicPr>
        <p:blipFill rotWithShape="1">
          <a:blip r:embed="rId4">
            <a:alphaModFix/>
          </a:blip>
          <a:srcRect t="29806" b="28737"/>
          <a:stretch/>
        </p:blipFill>
        <p:spPr>
          <a:xfrm>
            <a:off x="270792" y="374904"/>
            <a:ext cx="2325025" cy="648900"/>
          </a:xfrm>
          <a:prstGeom prst="rect">
            <a:avLst/>
          </a:prstGeom>
          <a:noFill/>
          <a:ln>
            <a:noFill/>
          </a:ln>
        </p:spPr>
      </p:pic>
      <p:sp>
        <p:nvSpPr>
          <p:cNvPr id="195" name="Google Shape;195;p15"/>
          <p:cNvSpPr txBox="1"/>
          <p:nvPr/>
        </p:nvSpPr>
        <p:spPr>
          <a:xfrm>
            <a:off x="336850" y="2502850"/>
            <a:ext cx="586590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3200" b="1" dirty="0"/>
              <a:t>Text to Column Trick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993" y="435409"/>
            <a:ext cx="10470584" cy="624786"/>
          </a:xfrm>
        </p:spPr>
        <p:txBody>
          <a:bodyPr/>
          <a:lstStyle/>
          <a:p>
            <a:r>
              <a:rPr lang="en-GB" sz="3000" b="1" dirty="0">
                <a:solidFill>
                  <a:srgbClr val="423C89"/>
                </a:solidFill>
                <a:latin typeface="+mj-lt"/>
                <a:ea typeface="+mj-ea"/>
                <a:cs typeface="+mj-cs"/>
              </a:rPr>
              <a:t>What you will learn?</a:t>
            </a:r>
          </a:p>
        </p:txBody>
      </p:sp>
      <p:sp>
        <p:nvSpPr>
          <p:cNvPr id="3" name="Content Placeholder 2"/>
          <p:cNvSpPr>
            <a:spLocks noGrp="1"/>
          </p:cNvSpPr>
          <p:nvPr>
            <p:ph idx="1"/>
          </p:nvPr>
        </p:nvSpPr>
        <p:spPr>
          <a:xfrm>
            <a:off x="378199" y="2347983"/>
            <a:ext cx="11813801" cy="677750"/>
          </a:xfrm>
        </p:spPr>
        <p:txBody>
          <a:bodyPr/>
          <a:lstStyle/>
          <a:p>
            <a:pPr marL="0" indent="0">
              <a:lnSpc>
                <a:spcPct val="150000"/>
              </a:lnSpc>
              <a:buNone/>
            </a:pPr>
            <a:r>
              <a:rPr lang="en-GB" sz="3200" dirty="0"/>
              <a:t>Amazing things about Excel Text to column</a:t>
            </a:r>
            <a:endParaRPr lang="en-GB" sz="3200" b="1" dirty="0"/>
          </a:p>
        </p:txBody>
      </p:sp>
    </p:spTree>
    <p:extLst>
      <p:ext uri="{BB962C8B-B14F-4D97-AF65-F5344CB8AC3E}">
        <p14:creationId xmlns:p14="http://schemas.microsoft.com/office/powerpoint/2010/main" val="3685355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099" y="405913"/>
            <a:ext cx="10470584" cy="513987"/>
          </a:xfrm>
        </p:spPr>
        <p:txBody>
          <a:bodyPr/>
          <a:lstStyle/>
          <a:p>
            <a:r>
              <a:rPr lang="en-GB" sz="3000" b="1" dirty="0">
                <a:solidFill>
                  <a:srgbClr val="423C89"/>
                </a:solidFill>
                <a:latin typeface="+mj-lt"/>
                <a:ea typeface="+mj-ea"/>
                <a:cs typeface="+mj-cs"/>
              </a:rPr>
              <a:t>Text to Column</a:t>
            </a:r>
          </a:p>
        </p:txBody>
      </p:sp>
      <p:sp>
        <p:nvSpPr>
          <p:cNvPr id="3" name="Content Placeholder 2"/>
          <p:cNvSpPr>
            <a:spLocks noGrp="1"/>
          </p:cNvSpPr>
          <p:nvPr>
            <p:ph idx="1"/>
          </p:nvPr>
        </p:nvSpPr>
        <p:spPr>
          <a:xfrm>
            <a:off x="189099" y="1281441"/>
            <a:ext cx="11813801" cy="5170646"/>
          </a:xfrm>
        </p:spPr>
        <p:txBody>
          <a:bodyPr/>
          <a:lstStyle/>
          <a:p>
            <a:pPr marL="0" indent="0" algn="just">
              <a:lnSpc>
                <a:spcPct val="150000"/>
              </a:lnSpc>
              <a:buNone/>
            </a:pPr>
            <a:r>
              <a:rPr lang="en-US" sz="3200" dirty="0"/>
              <a:t>As it’s name suggests, it is used to split the text into multiple columns. For example, if you have first name and last name in the same cell, you can use this to quickly split that into two different cells.</a:t>
            </a:r>
          </a:p>
          <a:p>
            <a:pPr marL="0" indent="0" algn="l">
              <a:lnSpc>
                <a:spcPct val="150000"/>
              </a:lnSpc>
              <a:buNone/>
            </a:pPr>
            <a:endParaRPr lang="en-US" sz="3200" dirty="0"/>
          </a:p>
          <a:p>
            <a:pPr marL="0" indent="0" algn="just">
              <a:lnSpc>
                <a:spcPct val="150000"/>
              </a:lnSpc>
              <a:buNone/>
            </a:pPr>
            <a:r>
              <a:rPr lang="en-US" sz="3200" dirty="0"/>
              <a:t>This can be really helpful when you get your data from databases or you import it from other file formats such as Text or CSV.</a:t>
            </a:r>
          </a:p>
        </p:txBody>
      </p:sp>
    </p:spTree>
    <p:extLst>
      <p:ext uri="{BB962C8B-B14F-4D97-AF65-F5344CB8AC3E}">
        <p14:creationId xmlns:p14="http://schemas.microsoft.com/office/powerpoint/2010/main" val="1380799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487" y="391161"/>
            <a:ext cx="10470584" cy="513987"/>
          </a:xfrm>
        </p:spPr>
        <p:txBody>
          <a:bodyPr/>
          <a:lstStyle/>
          <a:p>
            <a:r>
              <a:rPr lang="en-GB" sz="3000" b="1" dirty="0">
                <a:solidFill>
                  <a:srgbClr val="423C89"/>
                </a:solidFill>
                <a:latin typeface="+mj-lt"/>
                <a:ea typeface="+mj-ea"/>
                <a:cs typeface="+mj-cs"/>
              </a:rPr>
              <a:t>Lab session</a:t>
            </a:r>
          </a:p>
        </p:txBody>
      </p:sp>
      <p:pic>
        <p:nvPicPr>
          <p:cNvPr id="1026" name="Picture 2" descr="Robert Litt ePortfolio">
            <a:extLst>
              <a:ext uri="{FF2B5EF4-FFF2-40B4-BE49-F238E27FC236}">
                <a16:creationId xmlns:a16="http://schemas.microsoft.com/office/drawing/2014/main" id="{F7CC30CD-41E1-4FA9-8F99-81F24B731D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2107" y="1270009"/>
            <a:ext cx="6779863" cy="5084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39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02"/>
        <p:cNvGrpSpPr/>
        <p:nvPr/>
      </p:nvGrpSpPr>
      <p:grpSpPr>
        <a:xfrm>
          <a:off x="0" y="0"/>
          <a:ext cx="0" cy="0"/>
          <a:chOff x="0" y="0"/>
          <a:chExt cx="0" cy="0"/>
        </a:xfrm>
      </p:grpSpPr>
      <p:sp>
        <p:nvSpPr>
          <p:cNvPr id="403" name="Google Shape;403;p38"/>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GB"/>
              <a:t>5</a:t>
            </a:fld>
            <a:endParaRPr/>
          </a:p>
        </p:txBody>
      </p:sp>
      <p:pic>
        <p:nvPicPr>
          <p:cNvPr id="404" name="Google Shape;404;p38"/>
          <p:cNvPicPr preferRelativeResize="0"/>
          <p:nvPr/>
        </p:nvPicPr>
        <p:blipFill rotWithShape="1">
          <a:blip r:embed="rId3">
            <a:alphaModFix/>
          </a:blip>
          <a:srcRect/>
          <a:stretch/>
        </p:blipFill>
        <p:spPr>
          <a:xfrm>
            <a:off x="0" y="5562"/>
            <a:ext cx="12191999" cy="6852438"/>
          </a:xfrm>
          <a:prstGeom prst="rect">
            <a:avLst/>
          </a:prstGeom>
          <a:noFill/>
          <a:ln>
            <a:noFill/>
          </a:ln>
        </p:spPr>
      </p:pic>
      <p:pic>
        <p:nvPicPr>
          <p:cNvPr id="405" name="Google Shape;405;p38"/>
          <p:cNvPicPr preferRelativeResize="0"/>
          <p:nvPr/>
        </p:nvPicPr>
        <p:blipFill rotWithShape="1">
          <a:blip r:embed="rId4">
            <a:alphaModFix/>
          </a:blip>
          <a:srcRect/>
          <a:stretch/>
        </p:blipFill>
        <p:spPr>
          <a:xfrm>
            <a:off x="68488" y="97801"/>
            <a:ext cx="2627420" cy="635666"/>
          </a:xfrm>
          <a:prstGeom prst="rect">
            <a:avLst/>
          </a:prstGeom>
          <a:noFill/>
          <a:ln>
            <a:noFill/>
          </a:ln>
        </p:spPr>
      </p:pic>
      <p:sp>
        <p:nvSpPr>
          <p:cNvPr id="406" name="Google Shape;406;p38"/>
          <p:cNvSpPr txBox="1"/>
          <p:nvPr/>
        </p:nvSpPr>
        <p:spPr>
          <a:xfrm>
            <a:off x="1452350" y="3592250"/>
            <a:ext cx="2523600" cy="677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3200">
                <a:solidFill>
                  <a:schemeClr val="lt1"/>
                </a:solidFill>
              </a:rPr>
              <a:t>Thank You </a:t>
            </a:r>
            <a:endParaRPr sz="3200">
              <a:solidFill>
                <a:schemeClr val="lt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6</TotalTime>
  <Words>103</Words>
  <Application>Microsoft Office PowerPoint</Application>
  <PresentationFormat>Widescreen</PresentationFormat>
  <Paragraphs>13</Paragraphs>
  <Slides>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Verdana</vt:lpstr>
      <vt:lpstr>Roboto Condensed</vt:lpstr>
      <vt:lpstr>Arial</vt:lpstr>
      <vt:lpstr>Calibri</vt:lpstr>
      <vt:lpstr>Open Sans</vt:lpstr>
      <vt:lpstr>Office Theme</vt:lpstr>
      <vt:lpstr>think-cell Slide</vt:lpstr>
      <vt:lpstr>PowerPoint Presentation</vt:lpstr>
      <vt:lpstr>What you will learn?</vt:lpstr>
      <vt:lpstr>Text to Column</vt:lpstr>
      <vt:lpstr>Lab ses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zekiel Ogundepo</dc:creator>
  <cp:lastModifiedBy>Ezekiel Ogundepo</cp:lastModifiedBy>
  <cp:revision>12</cp:revision>
  <dcterms:modified xsi:type="dcterms:W3CDTF">2022-04-06T10:12:06Z</dcterms:modified>
</cp:coreProperties>
</file>